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  <p:sldMasterId id="2147483727" r:id="rId6"/>
    <p:sldMasterId id="2147483754" r:id="rId7"/>
  </p:sldMasterIdLst>
  <p:notesMasterIdLst>
    <p:notesMasterId r:id="rId20"/>
  </p:notesMasterIdLst>
  <p:sldIdLst>
    <p:sldId id="2145707762" r:id="rId8"/>
    <p:sldId id="2147482502" r:id="rId9"/>
    <p:sldId id="263" r:id="rId10"/>
    <p:sldId id="264" r:id="rId11"/>
    <p:sldId id="265" r:id="rId12"/>
    <p:sldId id="2147476586" r:id="rId13"/>
    <p:sldId id="2147483632" r:id="rId14"/>
    <p:sldId id="257" r:id="rId15"/>
    <p:sldId id="2147483647" r:id="rId16"/>
    <p:sldId id="258" r:id="rId17"/>
    <p:sldId id="256" r:id="rId18"/>
    <p:sldId id="214748364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ricsson Presentation" id="{262253C8-42A0-4CB0-9A19-D3D9D8454010}">
          <p14:sldIdLst>
            <p14:sldId id="2145707762"/>
            <p14:sldId id="2147482502"/>
            <p14:sldId id="263"/>
            <p14:sldId id="264"/>
            <p14:sldId id="265"/>
            <p14:sldId id="2147476586"/>
            <p14:sldId id="2147483632"/>
            <p14:sldId id="257"/>
            <p14:sldId id="2147483647"/>
            <p14:sldId id="258"/>
            <p14:sldId id="256"/>
            <p14:sldId id="2147483645"/>
          </p14:sldIdLst>
        </p14:section>
        <p14:section name="Supporting Material" id="{B484E414-A09A-4939-B462-136D7750B5D9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73375"/>
    <a:srgbClr val="BF496B"/>
    <a:srgbClr val="E66E19"/>
    <a:srgbClr val="976CF4"/>
    <a:srgbClr val="3980EF"/>
    <a:srgbClr val="F7F6F8"/>
    <a:srgbClr val="E4F9E7"/>
    <a:srgbClr val="3BA0A4"/>
    <a:srgbClr val="23969A"/>
    <a:srgbClr val="0FC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C574D5-49DA-449C-8CA7-70C18ED40010}" v="90" dt="2025-06-27T12:36:00.384"/>
    <p1510:client id="{7C8F9B2F-1756-4A60-B99C-442A776E8EE1}" v="901" dt="2025-06-26T14:58:43.3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16" autoAdjust="0"/>
    <p:restoredTop sz="90725" autoAdjust="0"/>
  </p:normalViewPr>
  <p:slideViewPr>
    <p:cSldViewPr snapToGrid="0">
      <p:cViewPr varScale="1">
        <p:scale>
          <a:sx n="57" d="100"/>
          <a:sy n="57" d="100"/>
        </p:scale>
        <p:origin x="112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sv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svg"/><Relationship Id="rId1" Type="http://schemas.openxmlformats.org/officeDocument/2006/relationships/image" Target="../media/image75.png"/><Relationship Id="rId6" Type="http://schemas.openxmlformats.org/officeDocument/2006/relationships/image" Target="../media/image80.svg"/><Relationship Id="rId5" Type="http://schemas.openxmlformats.org/officeDocument/2006/relationships/image" Target="../media/image79.png"/><Relationship Id="rId4" Type="http://schemas.openxmlformats.org/officeDocument/2006/relationships/image" Target="../media/image78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sv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svg"/><Relationship Id="rId1" Type="http://schemas.openxmlformats.org/officeDocument/2006/relationships/image" Target="../media/image75.png"/><Relationship Id="rId6" Type="http://schemas.openxmlformats.org/officeDocument/2006/relationships/image" Target="../media/image80.svg"/><Relationship Id="rId5" Type="http://schemas.openxmlformats.org/officeDocument/2006/relationships/image" Target="../media/image79.png"/><Relationship Id="rId4" Type="http://schemas.openxmlformats.org/officeDocument/2006/relationships/image" Target="../media/image7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CC12E4-EB15-4E7D-A009-41565CE6C0FA}" type="doc">
      <dgm:prSet loTypeId="urn:microsoft.com/office/officeart/2005/8/layout/vList4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D887D0-6D84-49C1-A177-1F965FCAE3F7}">
      <dgm:prSet phldrT="[Text]" custT="1"/>
      <dgm:spPr/>
      <dgm:t>
        <a:bodyPr/>
        <a:lstStyle/>
        <a:p>
          <a:r>
            <a:rPr lang="it" sz="1200" b="1" dirty="0">
              <a:solidFill>
                <a:schemeClr val="bg1"/>
              </a:solidFill>
            </a:rPr>
            <a:t>Creazione di video istantanei</a:t>
          </a:r>
        </a:p>
        <a:p>
          <a:r>
            <a:rPr lang="it" sz="1050" dirty="0">
              <a:solidFill>
                <a:schemeClr val="bg1"/>
              </a:solidFill>
            </a:rPr>
            <a:t>L'intelligenza artificiale trasforma le procedure scritte e le istruzioni di sicurezza in coinvolgenti video di formazione in pochi minuti</a:t>
          </a:r>
          <a:endParaRPr lang="en-US" sz="1050" dirty="0">
            <a:solidFill>
              <a:schemeClr val="bg1"/>
            </a:solidFill>
          </a:endParaRPr>
        </a:p>
      </dgm:t>
    </dgm:pt>
    <dgm:pt modelId="{B3CA5712-43C4-4B39-AE6D-2197D2F88183}" type="parTrans" cxnId="{B32FB851-228F-47B8-BB2E-732F3F2A069E}">
      <dgm:prSet/>
      <dgm:spPr/>
      <dgm:t>
        <a:bodyPr/>
        <a:lstStyle/>
        <a:p>
          <a:endParaRPr lang="en-US"/>
        </a:p>
      </dgm:t>
    </dgm:pt>
    <dgm:pt modelId="{F70CC656-54DA-4ADE-960E-795FF3BAA1BD}" type="sibTrans" cxnId="{B32FB851-228F-47B8-BB2E-732F3F2A069E}">
      <dgm:prSet/>
      <dgm:spPr/>
      <dgm:t>
        <a:bodyPr/>
        <a:lstStyle/>
        <a:p>
          <a:endParaRPr lang="en-US"/>
        </a:p>
      </dgm:t>
    </dgm:pt>
    <dgm:pt modelId="{878503CD-9206-4BB3-B7A4-460B54456E7C}">
      <dgm:prSet phldrT="[Text]" custT="1"/>
      <dgm:spPr/>
      <dgm:t>
        <a:bodyPr/>
        <a:lstStyle/>
        <a:p>
          <a:r>
            <a:rPr lang="it" sz="1200" b="1" dirty="0">
              <a:solidFill>
                <a:schemeClr val="bg1"/>
              </a:solidFill>
            </a:rPr>
            <a:t>Narrazione multilingue</a:t>
          </a:r>
        </a:p>
        <a:p>
          <a:r>
            <a:rPr lang="it" sz="1050" dirty="0">
              <a:solidFill>
                <a:schemeClr val="bg1"/>
              </a:solidFill>
            </a:rPr>
            <a:t>Gli avatar AI offrono una narrazione in più lingue per un'accessibilità globale</a:t>
          </a:r>
          <a:endParaRPr lang="en-US" sz="1050" dirty="0">
            <a:solidFill>
              <a:schemeClr val="bg1"/>
            </a:solidFill>
          </a:endParaRPr>
        </a:p>
      </dgm:t>
    </dgm:pt>
    <dgm:pt modelId="{C0D0A2D9-80FA-4CDB-BE3E-C5CC1214391B}" type="parTrans" cxnId="{3E99C559-C641-4C5F-95B0-AB5A56A854D7}">
      <dgm:prSet/>
      <dgm:spPr/>
      <dgm:t>
        <a:bodyPr/>
        <a:lstStyle/>
        <a:p>
          <a:endParaRPr lang="en-US"/>
        </a:p>
      </dgm:t>
    </dgm:pt>
    <dgm:pt modelId="{FE183552-EDEB-4EC3-96A9-EE900C100D10}" type="sibTrans" cxnId="{3E99C559-C641-4C5F-95B0-AB5A56A854D7}">
      <dgm:prSet/>
      <dgm:spPr/>
      <dgm:t>
        <a:bodyPr/>
        <a:lstStyle/>
        <a:p>
          <a:endParaRPr lang="en-US"/>
        </a:p>
      </dgm:t>
    </dgm:pt>
    <dgm:pt modelId="{010A27EC-DA6F-46B9-81A2-111ADCECAAC7}">
      <dgm:prSet phldrT="[Text]" custT="1"/>
      <dgm:spPr/>
      <dgm:t>
        <a:bodyPr/>
        <a:lstStyle/>
        <a:p>
          <a:r>
            <a:rPr lang="it" sz="1200" b="1" dirty="0">
              <a:solidFill>
                <a:schemeClr val="bg1"/>
              </a:solidFill>
            </a:rPr>
            <a:t>Apprendimento interattivo</a:t>
          </a:r>
        </a:p>
        <a:p>
          <a:r>
            <a:rPr lang="it" sz="1050" dirty="0">
              <a:solidFill>
                <a:schemeClr val="bg1"/>
              </a:solidFill>
            </a:rPr>
            <a:t>I vari scenari disponibili personalizzano l'esperienza di formazione e aumentano la fidelizzazione nonchè l’interesse per i temi di Sicurezza sul Lavoro</a:t>
          </a:r>
          <a:endParaRPr lang="en-US" sz="1050" dirty="0">
            <a:solidFill>
              <a:schemeClr val="bg1"/>
            </a:solidFill>
          </a:endParaRPr>
        </a:p>
      </dgm:t>
    </dgm:pt>
    <dgm:pt modelId="{C6E13BB4-BFDF-486A-B600-0A212E29ECCA}" type="parTrans" cxnId="{AA8344D7-D8B7-4A13-9BAD-FD0F1F7806E8}">
      <dgm:prSet/>
      <dgm:spPr/>
      <dgm:t>
        <a:bodyPr/>
        <a:lstStyle/>
        <a:p>
          <a:endParaRPr lang="en-US"/>
        </a:p>
      </dgm:t>
    </dgm:pt>
    <dgm:pt modelId="{4C2B70AA-D6C6-431B-8645-CE0D7968F172}" type="sibTrans" cxnId="{AA8344D7-D8B7-4A13-9BAD-FD0F1F7806E8}">
      <dgm:prSet/>
      <dgm:spPr/>
      <dgm:t>
        <a:bodyPr/>
        <a:lstStyle/>
        <a:p>
          <a:endParaRPr lang="en-US"/>
        </a:p>
      </dgm:t>
    </dgm:pt>
    <dgm:pt modelId="{83485710-E624-4B97-9DF9-AF1CDA5EDEFE}">
      <dgm:prSet phldrT="[Text]" custT="1"/>
      <dgm:spPr/>
      <dgm:t>
        <a:bodyPr/>
        <a:lstStyle/>
        <a:p>
          <a:r>
            <a:rPr lang="it" sz="1200" b="1" dirty="0">
              <a:solidFill>
                <a:schemeClr val="bg1"/>
              </a:solidFill>
            </a:rPr>
            <a:t>Coinvolgimento dei giovani</a:t>
          </a:r>
        </a:p>
        <a:p>
          <a:r>
            <a:rPr lang="it" sz="1050" dirty="0">
              <a:solidFill>
                <a:schemeClr val="bg1"/>
              </a:solidFill>
            </a:rPr>
            <a:t>Il formato moderno basato su video è in sintonia con i dipendenti più giovani e i nativi digitali</a:t>
          </a:r>
          <a:endParaRPr lang="en-US" sz="1050" dirty="0">
            <a:solidFill>
              <a:schemeClr val="bg1"/>
            </a:solidFill>
          </a:endParaRPr>
        </a:p>
      </dgm:t>
    </dgm:pt>
    <dgm:pt modelId="{1CD9C655-FF47-4658-A978-4377FE0F728B}" type="parTrans" cxnId="{BF1C3CDC-6C14-4992-BA67-F123F1F94ABA}">
      <dgm:prSet/>
      <dgm:spPr/>
      <dgm:t>
        <a:bodyPr/>
        <a:lstStyle/>
        <a:p>
          <a:endParaRPr lang="en-US"/>
        </a:p>
      </dgm:t>
    </dgm:pt>
    <dgm:pt modelId="{47E01FC5-9F74-4719-84A5-1C8A287B3F87}" type="sibTrans" cxnId="{BF1C3CDC-6C14-4992-BA67-F123F1F94ABA}">
      <dgm:prSet/>
      <dgm:spPr/>
      <dgm:t>
        <a:bodyPr/>
        <a:lstStyle/>
        <a:p>
          <a:endParaRPr lang="en-US"/>
        </a:p>
      </dgm:t>
    </dgm:pt>
    <dgm:pt modelId="{27600B5C-73CF-4E96-92F2-0DB61D3D6CDC}" type="pres">
      <dgm:prSet presAssocID="{BCCC12E4-EB15-4E7D-A009-41565CE6C0FA}" presName="linear" presStyleCnt="0">
        <dgm:presLayoutVars>
          <dgm:dir/>
          <dgm:resizeHandles val="exact"/>
        </dgm:presLayoutVars>
      </dgm:prSet>
      <dgm:spPr/>
    </dgm:pt>
    <dgm:pt modelId="{0724E868-82B3-42DE-A647-22D9BFBE3748}" type="pres">
      <dgm:prSet presAssocID="{4BD887D0-6D84-49C1-A177-1F965FCAE3F7}" presName="comp" presStyleCnt="0"/>
      <dgm:spPr/>
    </dgm:pt>
    <dgm:pt modelId="{22A0A50E-019B-403C-B1E2-FB18D51506ED}" type="pres">
      <dgm:prSet presAssocID="{4BD887D0-6D84-49C1-A177-1F965FCAE3F7}" presName="box" presStyleLbl="node1" presStyleIdx="0" presStyleCnt="4" custLinFactNeighborY="-1074"/>
      <dgm:spPr/>
    </dgm:pt>
    <dgm:pt modelId="{18D493A0-5E55-4FD7-8018-BCCC338553FC}" type="pres">
      <dgm:prSet presAssocID="{4BD887D0-6D84-49C1-A177-1F965FCAE3F7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1000" b="-11000"/>
          </a:stretch>
        </a:blipFill>
      </dgm:spPr>
    </dgm:pt>
    <dgm:pt modelId="{389E401F-BBDC-420E-904F-15C25779A0C3}" type="pres">
      <dgm:prSet presAssocID="{4BD887D0-6D84-49C1-A177-1F965FCAE3F7}" presName="text" presStyleLbl="node1" presStyleIdx="0" presStyleCnt="4">
        <dgm:presLayoutVars>
          <dgm:bulletEnabled val="1"/>
        </dgm:presLayoutVars>
      </dgm:prSet>
      <dgm:spPr/>
    </dgm:pt>
    <dgm:pt modelId="{0608B417-D501-4766-8B65-A6CF47301ABC}" type="pres">
      <dgm:prSet presAssocID="{F70CC656-54DA-4ADE-960E-795FF3BAA1BD}" presName="spacer" presStyleCnt="0"/>
      <dgm:spPr/>
    </dgm:pt>
    <dgm:pt modelId="{5C05FEA2-2E65-48DB-AD7B-87F860B3A01C}" type="pres">
      <dgm:prSet presAssocID="{878503CD-9206-4BB3-B7A4-460B54456E7C}" presName="comp" presStyleCnt="0"/>
      <dgm:spPr/>
    </dgm:pt>
    <dgm:pt modelId="{CD21EDA0-E5CD-408B-BB4B-E00DD5DEE4CF}" type="pres">
      <dgm:prSet presAssocID="{878503CD-9206-4BB3-B7A4-460B54456E7C}" presName="box" presStyleLbl="node1" presStyleIdx="1" presStyleCnt="4"/>
      <dgm:spPr/>
    </dgm:pt>
    <dgm:pt modelId="{8E813C40-E7C9-4E5F-B88C-8A391039F9A8}" type="pres">
      <dgm:prSet presAssocID="{878503CD-9206-4BB3-B7A4-460B54456E7C}" presName="img" presStyleLbl="fgImgPlac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1000" b="-11000"/>
          </a:stretch>
        </a:blipFill>
      </dgm:spPr>
    </dgm:pt>
    <dgm:pt modelId="{45849B05-9B56-4B31-B418-C13F60846946}" type="pres">
      <dgm:prSet presAssocID="{878503CD-9206-4BB3-B7A4-460B54456E7C}" presName="text" presStyleLbl="node1" presStyleIdx="1" presStyleCnt="4">
        <dgm:presLayoutVars>
          <dgm:bulletEnabled val="1"/>
        </dgm:presLayoutVars>
      </dgm:prSet>
      <dgm:spPr/>
    </dgm:pt>
    <dgm:pt modelId="{E0962B65-C4CC-4DCA-A447-95FA4592E18E}" type="pres">
      <dgm:prSet presAssocID="{FE183552-EDEB-4EC3-96A9-EE900C100D10}" presName="spacer" presStyleCnt="0"/>
      <dgm:spPr/>
    </dgm:pt>
    <dgm:pt modelId="{8CDB02F6-070A-4F68-91D7-7BB079044271}" type="pres">
      <dgm:prSet presAssocID="{010A27EC-DA6F-46B9-81A2-111ADCECAAC7}" presName="comp" presStyleCnt="0"/>
      <dgm:spPr/>
    </dgm:pt>
    <dgm:pt modelId="{AAFEB68D-EFF5-414B-A183-77A523961082}" type="pres">
      <dgm:prSet presAssocID="{010A27EC-DA6F-46B9-81A2-111ADCECAAC7}" presName="box" presStyleLbl="node1" presStyleIdx="2" presStyleCnt="4"/>
      <dgm:spPr/>
    </dgm:pt>
    <dgm:pt modelId="{2B4018A7-2435-48CF-A6EF-69E379A02928}" type="pres">
      <dgm:prSet presAssocID="{010A27EC-DA6F-46B9-81A2-111ADCECAAC7}" presName="img" presStyleLbl="fgImgPlac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11000" b="-11000"/>
          </a:stretch>
        </a:blipFill>
      </dgm:spPr>
    </dgm:pt>
    <dgm:pt modelId="{073E5D6C-4D4B-4541-A8A6-A8EB6BE32F4D}" type="pres">
      <dgm:prSet presAssocID="{010A27EC-DA6F-46B9-81A2-111ADCECAAC7}" presName="text" presStyleLbl="node1" presStyleIdx="2" presStyleCnt="4">
        <dgm:presLayoutVars>
          <dgm:bulletEnabled val="1"/>
        </dgm:presLayoutVars>
      </dgm:prSet>
      <dgm:spPr/>
    </dgm:pt>
    <dgm:pt modelId="{03B40C11-5340-47ED-8AC0-49626EB98DF0}" type="pres">
      <dgm:prSet presAssocID="{4C2B70AA-D6C6-431B-8645-CE0D7968F172}" presName="spacer" presStyleCnt="0"/>
      <dgm:spPr/>
    </dgm:pt>
    <dgm:pt modelId="{66A42862-C61E-4BA5-BBA0-61F72BFD4120}" type="pres">
      <dgm:prSet presAssocID="{83485710-E624-4B97-9DF9-AF1CDA5EDEFE}" presName="comp" presStyleCnt="0"/>
      <dgm:spPr/>
    </dgm:pt>
    <dgm:pt modelId="{95D28CA2-91C9-4CE0-B62F-8CA1A5AC10D6}" type="pres">
      <dgm:prSet presAssocID="{83485710-E624-4B97-9DF9-AF1CDA5EDEFE}" presName="box" presStyleLbl="node1" presStyleIdx="3" presStyleCnt="4" custLinFactNeighborX="2919" custLinFactNeighborY="-1192"/>
      <dgm:spPr/>
    </dgm:pt>
    <dgm:pt modelId="{D6E2CA30-BEB2-4140-ADEB-D5C3E65F5FAF}" type="pres">
      <dgm:prSet presAssocID="{83485710-E624-4B97-9DF9-AF1CDA5EDEFE}" presName="img" presStyleLbl="fgImgPlac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11000" b="-11000"/>
          </a:stretch>
        </a:blipFill>
      </dgm:spPr>
    </dgm:pt>
    <dgm:pt modelId="{58A58F49-EB8D-4C9C-AF10-EB3817CF1E0E}" type="pres">
      <dgm:prSet presAssocID="{83485710-E624-4B97-9DF9-AF1CDA5EDEFE}" presName="text" presStyleLbl="node1" presStyleIdx="3" presStyleCnt="4">
        <dgm:presLayoutVars>
          <dgm:bulletEnabled val="1"/>
        </dgm:presLayoutVars>
      </dgm:prSet>
      <dgm:spPr/>
    </dgm:pt>
  </dgm:ptLst>
  <dgm:cxnLst>
    <dgm:cxn modelId="{52A90A1A-B8FC-46A4-B4DB-6C2FE452A85A}" type="presOf" srcId="{010A27EC-DA6F-46B9-81A2-111ADCECAAC7}" destId="{AAFEB68D-EFF5-414B-A183-77A523961082}" srcOrd="0" destOrd="0" presId="urn:microsoft.com/office/officeart/2005/8/layout/vList4"/>
    <dgm:cxn modelId="{6D779626-8BCD-4944-BC17-65D30C4E3A7F}" type="presOf" srcId="{83485710-E624-4B97-9DF9-AF1CDA5EDEFE}" destId="{95D28CA2-91C9-4CE0-B62F-8CA1A5AC10D6}" srcOrd="0" destOrd="0" presId="urn:microsoft.com/office/officeart/2005/8/layout/vList4"/>
    <dgm:cxn modelId="{5EB5812B-B961-4096-9BBA-90161E140DAC}" type="presOf" srcId="{878503CD-9206-4BB3-B7A4-460B54456E7C}" destId="{45849B05-9B56-4B31-B418-C13F60846946}" srcOrd="1" destOrd="0" presId="urn:microsoft.com/office/officeart/2005/8/layout/vList4"/>
    <dgm:cxn modelId="{0C3F2539-2AAB-4C99-90AF-21629E514EB1}" type="presOf" srcId="{83485710-E624-4B97-9DF9-AF1CDA5EDEFE}" destId="{58A58F49-EB8D-4C9C-AF10-EB3817CF1E0E}" srcOrd="1" destOrd="0" presId="urn:microsoft.com/office/officeart/2005/8/layout/vList4"/>
    <dgm:cxn modelId="{25E0F33E-6C21-4AB9-A875-A7007B5EE408}" type="presOf" srcId="{BCCC12E4-EB15-4E7D-A009-41565CE6C0FA}" destId="{27600B5C-73CF-4E96-92F2-0DB61D3D6CDC}" srcOrd="0" destOrd="0" presId="urn:microsoft.com/office/officeart/2005/8/layout/vList4"/>
    <dgm:cxn modelId="{2FB7B96C-1075-49F5-B9D5-A366EE0A54F7}" type="presOf" srcId="{878503CD-9206-4BB3-B7A4-460B54456E7C}" destId="{CD21EDA0-E5CD-408B-BB4B-E00DD5DEE4CF}" srcOrd="0" destOrd="0" presId="urn:microsoft.com/office/officeart/2005/8/layout/vList4"/>
    <dgm:cxn modelId="{B32FB851-228F-47B8-BB2E-732F3F2A069E}" srcId="{BCCC12E4-EB15-4E7D-A009-41565CE6C0FA}" destId="{4BD887D0-6D84-49C1-A177-1F965FCAE3F7}" srcOrd="0" destOrd="0" parTransId="{B3CA5712-43C4-4B39-AE6D-2197D2F88183}" sibTransId="{F70CC656-54DA-4ADE-960E-795FF3BAA1BD}"/>
    <dgm:cxn modelId="{3E99C559-C641-4C5F-95B0-AB5A56A854D7}" srcId="{BCCC12E4-EB15-4E7D-A009-41565CE6C0FA}" destId="{878503CD-9206-4BB3-B7A4-460B54456E7C}" srcOrd="1" destOrd="0" parTransId="{C0D0A2D9-80FA-4CDB-BE3E-C5CC1214391B}" sibTransId="{FE183552-EDEB-4EC3-96A9-EE900C100D10}"/>
    <dgm:cxn modelId="{ED9E338D-69EB-4457-A768-0446C9942B10}" type="presOf" srcId="{4BD887D0-6D84-49C1-A177-1F965FCAE3F7}" destId="{22A0A50E-019B-403C-B1E2-FB18D51506ED}" srcOrd="0" destOrd="0" presId="urn:microsoft.com/office/officeart/2005/8/layout/vList4"/>
    <dgm:cxn modelId="{445E49B7-27AC-4399-BA96-80D01101B98C}" type="presOf" srcId="{4BD887D0-6D84-49C1-A177-1F965FCAE3F7}" destId="{389E401F-BBDC-420E-904F-15C25779A0C3}" srcOrd="1" destOrd="0" presId="urn:microsoft.com/office/officeart/2005/8/layout/vList4"/>
    <dgm:cxn modelId="{2AF787C8-8D30-4CA9-B4B6-B84AB01682B8}" type="presOf" srcId="{010A27EC-DA6F-46B9-81A2-111ADCECAAC7}" destId="{073E5D6C-4D4B-4541-A8A6-A8EB6BE32F4D}" srcOrd="1" destOrd="0" presId="urn:microsoft.com/office/officeart/2005/8/layout/vList4"/>
    <dgm:cxn modelId="{AA8344D7-D8B7-4A13-9BAD-FD0F1F7806E8}" srcId="{BCCC12E4-EB15-4E7D-A009-41565CE6C0FA}" destId="{010A27EC-DA6F-46B9-81A2-111ADCECAAC7}" srcOrd="2" destOrd="0" parTransId="{C6E13BB4-BFDF-486A-B600-0A212E29ECCA}" sibTransId="{4C2B70AA-D6C6-431B-8645-CE0D7968F172}"/>
    <dgm:cxn modelId="{BF1C3CDC-6C14-4992-BA67-F123F1F94ABA}" srcId="{BCCC12E4-EB15-4E7D-A009-41565CE6C0FA}" destId="{83485710-E624-4B97-9DF9-AF1CDA5EDEFE}" srcOrd="3" destOrd="0" parTransId="{1CD9C655-FF47-4658-A978-4377FE0F728B}" sibTransId="{47E01FC5-9F74-4719-84A5-1C8A287B3F87}"/>
    <dgm:cxn modelId="{0C24D45B-36D1-499C-AECF-517E8AB2EEDA}" type="presParOf" srcId="{27600B5C-73CF-4E96-92F2-0DB61D3D6CDC}" destId="{0724E868-82B3-42DE-A647-22D9BFBE3748}" srcOrd="0" destOrd="0" presId="urn:microsoft.com/office/officeart/2005/8/layout/vList4"/>
    <dgm:cxn modelId="{CF9852D5-7FFC-4738-9AE7-78FC4091CAF2}" type="presParOf" srcId="{0724E868-82B3-42DE-A647-22D9BFBE3748}" destId="{22A0A50E-019B-403C-B1E2-FB18D51506ED}" srcOrd="0" destOrd="0" presId="urn:microsoft.com/office/officeart/2005/8/layout/vList4"/>
    <dgm:cxn modelId="{9DB2492F-498E-48DF-BA69-2979FC3E7C70}" type="presParOf" srcId="{0724E868-82B3-42DE-A647-22D9BFBE3748}" destId="{18D493A0-5E55-4FD7-8018-BCCC338553FC}" srcOrd="1" destOrd="0" presId="urn:microsoft.com/office/officeart/2005/8/layout/vList4"/>
    <dgm:cxn modelId="{CD8A7923-B8F8-4BD9-8F9E-18DF0CF5E199}" type="presParOf" srcId="{0724E868-82B3-42DE-A647-22D9BFBE3748}" destId="{389E401F-BBDC-420E-904F-15C25779A0C3}" srcOrd="2" destOrd="0" presId="urn:microsoft.com/office/officeart/2005/8/layout/vList4"/>
    <dgm:cxn modelId="{4B2DC1F9-E2B3-4DF8-89A5-8E5A3BB54112}" type="presParOf" srcId="{27600B5C-73CF-4E96-92F2-0DB61D3D6CDC}" destId="{0608B417-D501-4766-8B65-A6CF47301ABC}" srcOrd="1" destOrd="0" presId="urn:microsoft.com/office/officeart/2005/8/layout/vList4"/>
    <dgm:cxn modelId="{1C234120-94ED-49CF-B4A0-CC72CB08C7FB}" type="presParOf" srcId="{27600B5C-73CF-4E96-92F2-0DB61D3D6CDC}" destId="{5C05FEA2-2E65-48DB-AD7B-87F860B3A01C}" srcOrd="2" destOrd="0" presId="urn:microsoft.com/office/officeart/2005/8/layout/vList4"/>
    <dgm:cxn modelId="{AC86FB89-CE13-4B6C-A2F6-9E9030B6FA25}" type="presParOf" srcId="{5C05FEA2-2E65-48DB-AD7B-87F860B3A01C}" destId="{CD21EDA0-E5CD-408B-BB4B-E00DD5DEE4CF}" srcOrd="0" destOrd="0" presId="urn:microsoft.com/office/officeart/2005/8/layout/vList4"/>
    <dgm:cxn modelId="{81BD4B53-B8AC-43C3-AF3D-1F12BC41D988}" type="presParOf" srcId="{5C05FEA2-2E65-48DB-AD7B-87F860B3A01C}" destId="{8E813C40-E7C9-4E5F-B88C-8A391039F9A8}" srcOrd="1" destOrd="0" presId="urn:microsoft.com/office/officeart/2005/8/layout/vList4"/>
    <dgm:cxn modelId="{B321FD19-3936-49A9-9D3E-317018035465}" type="presParOf" srcId="{5C05FEA2-2E65-48DB-AD7B-87F860B3A01C}" destId="{45849B05-9B56-4B31-B418-C13F60846946}" srcOrd="2" destOrd="0" presId="urn:microsoft.com/office/officeart/2005/8/layout/vList4"/>
    <dgm:cxn modelId="{F5B1E482-B896-4A2B-8FFA-EB9739B22DC2}" type="presParOf" srcId="{27600B5C-73CF-4E96-92F2-0DB61D3D6CDC}" destId="{E0962B65-C4CC-4DCA-A447-95FA4592E18E}" srcOrd="3" destOrd="0" presId="urn:microsoft.com/office/officeart/2005/8/layout/vList4"/>
    <dgm:cxn modelId="{01F44130-77E0-4077-9C4A-8D9DD622A03C}" type="presParOf" srcId="{27600B5C-73CF-4E96-92F2-0DB61D3D6CDC}" destId="{8CDB02F6-070A-4F68-91D7-7BB079044271}" srcOrd="4" destOrd="0" presId="urn:microsoft.com/office/officeart/2005/8/layout/vList4"/>
    <dgm:cxn modelId="{D30F061F-87C1-43C0-8D6E-604E9358B477}" type="presParOf" srcId="{8CDB02F6-070A-4F68-91D7-7BB079044271}" destId="{AAFEB68D-EFF5-414B-A183-77A523961082}" srcOrd="0" destOrd="0" presId="urn:microsoft.com/office/officeart/2005/8/layout/vList4"/>
    <dgm:cxn modelId="{8762C42B-E58E-494E-8003-4D3F6E73A1F5}" type="presParOf" srcId="{8CDB02F6-070A-4F68-91D7-7BB079044271}" destId="{2B4018A7-2435-48CF-A6EF-69E379A02928}" srcOrd="1" destOrd="0" presId="urn:microsoft.com/office/officeart/2005/8/layout/vList4"/>
    <dgm:cxn modelId="{13303523-D85A-4915-AD36-04CB2F665FF6}" type="presParOf" srcId="{8CDB02F6-070A-4F68-91D7-7BB079044271}" destId="{073E5D6C-4D4B-4541-A8A6-A8EB6BE32F4D}" srcOrd="2" destOrd="0" presId="urn:microsoft.com/office/officeart/2005/8/layout/vList4"/>
    <dgm:cxn modelId="{AFB6E517-AAC0-4290-9495-4B5A2915B0D3}" type="presParOf" srcId="{27600B5C-73CF-4E96-92F2-0DB61D3D6CDC}" destId="{03B40C11-5340-47ED-8AC0-49626EB98DF0}" srcOrd="5" destOrd="0" presId="urn:microsoft.com/office/officeart/2005/8/layout/vList4"/>
    <dgm:cxn modelId="{1889EFA2-AF9C-4723-9030-2EAE5A8D4490}" type="presParOf" srcId="{27600B5C-73CF-4E96-92F2-0DB61D3D6CDC}" destId="{66A42862-C61E-4BA5-BBA0-61F72BFD4120}" srcOrd="6" destOrd="0" presId="urn:microsoft.com/office/officeart/2005/8/layout/vList4"/>
    <dgm:cxn modelId="{D2BEB8A6-2CB9-4F47-B28D-E5B865AF8F87}" type="presParOf" srcId="{66A42862-C61E-4BA5-BBA0-61F72BFD4120}" destId="{95D28CA2-91C9-4CE0-B62F-8CA1A5AC10D6}" srcOrd="0" destOrd="0" presId="urn:microsoft.com/office/officeart/2005/8/layout/vList4"/>
    <dgm:cxn modelId="{0108DB10-BC3F-4E75-8E67-61339AB325ED}" type="presParOf" srcId="{66A42862-C61E-4BA5-BBA0-61F72BFD4120}" destId="{D6E2CA30-BEB2-4140-ADEB-D5C3E65F5FAF}" srcOrd="1" destOrd="0" presId="urn:microsoft.com/office/officeart/2005/8/layout/vList4"/>
    <dgm:cxn modelId="{3EF25BCE-CC80-4A61-8823-7EC80C12A731}" type="presParOf" srcId="{66A42862-C61E-4BA5-BBA0-61F72BFD4120}" destId="{58A58F49-EB8D-4C9C-AF10-EB3817CF1E0E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A0A50E-019B-403C-B1E2-FB18D51506ED}">
      <dsp:nvSpPr>
        <dsp:cNvPr id="0" name=""/>
        <dsp:cNvSpPr/>
      </dsp:nvSpPr>
      <dsp:spPr>
        <a:xfrm>
          <a:off x="0" y="0"/>
          <a:ext cx="4420091" cy="810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200" b="1" kern="1200" dirty="0">
              <a:solidFill>
                <a:schemeClr val="bg1"/>
              </a:solidFill>
            </a:rPr>
            <a:t>Creazione di video istantanei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050" kern="1200" dirty="0">
              <a:solidFill>
                <a:schemeClr val="bg1"/>
              </a:solidFill>
            </a:rPr>
            <a:t>L'intelligenza artificiale trasforma le procedure scritte e le istruzioni di sicurezza in coinvolgenti video di formazione in pochi minuti</a:t>
          </a:r>
          <a:endParaRPr lang="en-US" sz="1050" kern="1200" dirty="0">
            <a:solidFill>
              <a:schemeClr val="bg1"/>
            </a:solidFill>
          </a:endParaRPr>
        </a:p>
      </dsp:txBody>
      <dsp:txXfrm>
        <a:off x="965097" y="0"/>
        <a:ext cx="3454993" cy="810788"/>
      </dsp:txXfrm>
    </dsp:sp>
    <dsp:sp modelId="{18D493A0-5E55-4FD7-8018-BCCC338553FC}">
      <dsp:nvSpPr>
        <dsp:cNvPr id="0" name=""/>
        <dsp:cNvSpPr/>
      </dsp:nvSpPr>
      <dsp:spPr>
        <a:xfrm>
          <a:off x="81078" y="81078"/>
          <a:ext cx="884018" cy="6486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1000" b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D21EDA0-E5CD-408B-BB4B-E00DD5DEE4CF}">
      <dsp:nvSpPr>
        <dsp:cNvPr id="0" name=""/>
        <dsp:cNvSpPr/>
      </dsp:nvSpPr>
      <dsp:spPr>
        <a:xfrm>
          <a:off x="0" y="891866"/>
          <a:ext cx="4420091" cy="810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200" b="1" kern="1200" dirty="0">
              <a:solidFill>
                <a:schemeClr val="bg1"/>
              </a:solidFill>
            </a:rPr>
            <a:t>Narrazione multilingue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050" kern="1200" dirty="0">
              <a:solidFill>
                <a:schemeClr val="bg1"/>
              </a:solidFill>
            </a:rPr>
            <a:t>Gli avatar AI offrono una narrazione in più lingue per un'accessibilità globale</a:t>
          </a:r>
          <a:endParaRPr lang="en-US" sz="1050" kern="1200" dirty="0">
            <a:solidFill>
              <a:schemeClr val="bg1"/>
            </a:solidFill>
          </a:endParaRPr>
        </a:p>
      </dsp:txBody>
      <dsp:txXfrm>
        <a:off x="965097" y="891866"/>
        <a:ext cx="3454993" cy="810788"/>
      </dsp:txXfrm>
    </dsp:sp>
    <dsp:sp modelId="{8E813C40-E7C9-4E5F-B88C-8A391039F9A8}">
      <dsp:nvSpPr>
        <dsp:cNvPr id="0" name=""/>
        <dsp:cNvSpPr/>
      </dsp:nvSpPr>
      <dsp:spPr>
        <a:xfrm>
          <a:off x="81078" y="972945"/>
          <a:ext cx="884018" cy="6486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1000" b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AAFEB68D-EFF5-414B-A183-77A523961082}">
      <dsp:nvSpPr>
        <dsp:cNvPr id="0" name=""/>
        <dsp:cNvSpPr/>
      </dsp:nvSpPr>
      <dsp:spPr>
        <a:xfrm>
          <a:off x="0" y="1783733"/>
          <a:ext cx="4420091" cy="810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200" b="1" kern="1200" dirty="0">
              <a:solidFill>
                <a:schemeClr val="bg1"/>
              </a:solidFill>
            </a:rPr>
            <a:t>Apprendimento interattivo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050" kern="1200" dirty="0">
              <a:solidFill>
                <a:schemeClr val="bg1"/>
              </a:solidFill>
            </a:rPr>
            <a:t>I vari scenari disponibili personalizzano l'esperienza di formazione e aumentano la fidelizzazione nonchè l’interesse per i temi di Sicurezza sul Lavoro</a:t>
          </a:r>
          <a:endParaRPr lang="en-US" sz="1050" kern="1200" dirty="0">
            <a:solidFill>
              <a:schemeClr val="bg1"/>
            </a:solidFill>
          </a:endParaRPr>
        </a:p>
      </dsp:txBody>
      <dsp:txXfrm>
        <a:off x="965097" y="1783733"/>
        <a:ext cx="3454993" cy="810788"/>
      </dsp:txXfrm>
    </dsp:sp>
    <dsp:sp modelId="{2B4018A7-2435-48CF-A6EF-69E379A02928}">
      <dsp:nvSpPr>
        <dsp:cNvPr id="0" name=""/>
        <dsp:cNvSpPr/>
      </dsp:nvSpPr>
      <dsp:spPr>
        <a:xfrm>
          <a:off x="81078" y="1864812"/>
          <a:ext cx="884018" cy="6486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11000" b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95D28CA2-91C9-4CE0-B62F-8CA1A5AC10D6}">
      <dsp:nvSpPr>
        <dsp:cNvPr id="0" name=""/>
        <dsp:cNvSpPr/>
      </dsp:nvSpPr>
      <dsp:spPr>
        <a:xfrm>
          <a:off x="0" y="2665936"/>
          <a:ext cx="4420091" cy="810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200" b="1" kern="1200" dirty="0">
              <a:solidFill>
                <a:schemeClr val="bg1"/>
              </a:solidFill>
            </a:rPr>
            <a:t>Coinvolgimento dei giovani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050" kern="1200" dirty="0">
              <a:solidFill>
                <a:schemeClr val="bg1"/>
              </a:solidFill>
            </a:rPr>
            <a:t>Il formato moderno basato su video è in sintonia con i dipendenti più giovani e i nativi digitali</a:t>
          </a:r>
          <a:endParaRPr lang="en-US" sz="1050" kern="1200" dirty="0">
            <a:solidFill>
              <a:schemeClr val="bg1"/>
            </a:solidFill>
          </a:endParaRPr>
        </a:p>
      </dsp:txBody>
      <dsp:txXfrm>
        <a:off x="965097" y="2665936"/>
        <a:ext cx="3454993" cy="810788"/>
      </dsp:txXfrm>
    </dsp:sp>
    <dsp:sp modelId="{D6E2CA30-BEB2-4140-ADEB-D5C3E65F5FAF}">
      <dsp:nvSpPr>
        <dsp:cNvPr id="0" name=""/>
        <dsp:cNvSpPr/>
      </dsp:nvSpPr>
      <dsp:spPr>
        <a:xfrm>
          <a:off x="81078" y="2756679"/>
          <a:ext cx="884018" cy="6486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11000" b="-11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B4FAB2-61FE-4ACE-9699-835A84E28A2F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C5E59-CE80-4FDE-B9AA-C7383FCF5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53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A1C08E-A280-507D-8FED-9C05C208F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A061FB-A401-8E2D-B345-08B0D31378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7724E5-AB02-F34C-D1AA-4F515EB37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1155D6-382E-7995-273F-59E74CDDEC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6C5E59-CE80-4FDE-B9AA-C7383FCF54C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598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E3165-F965-B2B3-701E-E8FE75A0E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15BAF7-9E9A-55E0-6305-A9D3C78F57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B9E3AA-72F0-481E-1946-2D9EA5ED66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E808BCB-2AB8-386E-0836-BCABD51E79A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67F43-967A-8D8E-3784-7862C081710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7D5E5A-3409-99CE-4213-7CF36AAB34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D3C699-B4A3-5357-04E4-376214B70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9BC75-2359-4F98-918A-7033C92AD487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4504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4AC82-543E-119F-C5A8-C480BFFDA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93EAFF-78DB-BF1B-12EB-B963FB428F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95CA67-3CE1-A91E-B93C-FA9EC633EE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085CF26-41A5-4698-0594-922EECFBB09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3B438B-E79D-5B63-C60B-49FDFBACF06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6060C4-00B3-FC44-5EE7-FAC7D083B6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7A1B6A-2F0E-85E0-961A-BBAE6F0510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9BC75-2359-4F98-918A-7033C92AD487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0979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2-21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9DD1CB-DD7E-47C0-8C73-DFDF434617D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786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41E7-D4B1-49F1-AC80-FEE3B70A3F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658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E4D966-26FC-1E37-9D53-512E91F2F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BBAB58-05D5-E057-FD54-1DC99273AB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C0D2DB-F758-44C5-4116-F28DCEDA14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B1A37-82FE-0AFD-5CAB-E082FD3F3E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41E7-D4B1-49F1-AC80-FEE3B70A3F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07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B1D50F-952C-6E99-8E55-B42A459496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D1BBA2-A0F0-B277-6A65-889D3D2A27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B5E0B3-0B2D-4FCD-C25A-BFF3AE3FAB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844AE-FF2C-8147-70E8-AF23D283F6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41E7-D4B1-49F1-AC80-FEE3B70A3F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805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1D89C1-317C-4801-F133-A559FA8A9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A90B6D-D05D-3A82-F2DB-55AC8BFB6C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A452F9-BDF6-93C6-CD48-AC0647DABC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DCC0B-0C35-531D-1399-9482F51498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41E7-D4B1-49F1-AC80-FEE3B70A3F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3243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7462D-5A0E-4138-D017-D1AF49666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86FF4D-4688-F01A-5CFC-7F86277077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056E22-C056-E4BF-23A2-98206EB49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5F258E5-C5C0-F2DA-C857-4F37ECE48CE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19B3C0-01AA-0AAA-0400-B942F924C7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1240B6-2A50-3384-AAB4-D240C197DB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ACD981-8335-CE79-D6D5-251B85ECB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9BC75-2359-4F98-918A-7033C92AD487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449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"/>
              <a:t>Frontespizio/copertina, Ericsson Hilda Light 80pt, max 3 righe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Descrizione/sottotitolo/altoparlante...</a:t>
            </a:r>
            <a:br>
              <a:rPr lang="en-US"/>
            </a:br>
            <a:r>
              <a:rPr lang="it"/>
              <a:t>Ericsson Hilda Nero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Nome dell'orator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Organizzazion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"/>
              <a:t>AAAA-MM-GG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646651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1 smaller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8FC9BDE-AACF-FAD9-0569-2308D75B181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989B81D-94DE-1159-ADB9-A5A03B074B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presentazioni con intestazioni brevi e nit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6360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2514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2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105FD79D-9BC3-0408-DF33-0CA55CC3DCD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D355044D-CD56-AB10-6CA0-CA0669B906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7859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57230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 and 3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09FDE7F6-BBC9-8CC3-CB40-B28724FF07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D6BED84F-1648-A661-5267-B4AD41FD9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786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51356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4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44FC84B-7E22-F949-A48C-665D3900E6C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E1FC2882-E07D-F2B8-C050-E922C4080D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6868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82913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4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CFC6A99-DACF-36D5-6C3E-4DC5345A90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AA30C5B-96B9-3D1E-B8FE-49DE04E53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5736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3051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103FF1A-D345-1C56-590F-D823A889B02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"/>
              <a:t>Frontespizio/copertina, Ericsson Hilda Light 80pt, max 3 righe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Descrizione/sottotitolo/altoparlante...</a:t>
            </a:r>
            <a:br>
              <a:rPr lang="en-US"/>
            </a:br>
            <a:r>
              <a:rPr lang="it"/>
              <a:t>Ericsson Hilda Nero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Nome dell'orator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Organizzazion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"/>
              <a:t>AAAA-MM-GG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0EAB151C-EA5D-17DC-B535-00FFB9FD81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827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8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573FEDA-98AE-F7E3-43DF-75A830443C4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AFF8CACC-7FD5-4CBA-651F-A83C83174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6992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4195" y="5004940"/>
            <a:ext cx="6045994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</a:p>
        </p:txBody>
      </p:sp>
      <p:pic>
        <p:nvPicPr>
          <p:cNvPr id="2" name="image">
            <a:extLst>
              <a:ext uri="{FF2B5EF4-FFF2-40B4-BE49-F238E27FC236}">
                <a16:creationId xmlns:a16="http://schemas.microsoft.com/office/drawing/2014/main" id="{3DDE3DF2-4191-6EC8-7BFC-F1AAA9CFC1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77" y="2259975"/>
            <a:ext cx="2120176" cy="212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3505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en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00C8FCC-57E5-3E43-E21A-B3EDA1DB3E6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944A971-8DF1-600E-1D36-CB1EC244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77" y="2260680"/>
            <a:ext cx="2119473" cy="2120400"/>
          </a:xfrm>
          <a:prstGeom prst="rect">
            <a:avLst/>
          </a:prstGeom>
        </p:spPr>
      </p:pic>
      <p:sp>
        <p:nvSpPr>
          <p:cNvPr id="2" name="SubTitle_TM">
            <a:extLst>
              <a:ext uri="{FF2B5EF4-FFF2-40B4-BE49-F238E27FC236}">
                <a16:creationId xmlns:a16="http://schemas.microsoft.com/office/drawing/2014/main" id="{FCF1ABC6-0A4C-6C18-E8A5-415153FD00B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4195" y="5004940"/>
            <a:ext cx="6045994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</a:p>
        </p:txBody>
      </p:sp>
    </p:spTree>
    <p:extLst>
      <p:ext uri="{BB962C8B-B14F-4D97-AF65-F5344CB8AC3E}">
        <p14:creationId xmlns:p14="http://schemas.microsoft.com/office/powerpoint/2010/main" val="3664113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400" b="1">
                <a:solidFill>
                  <a:schemeClr val="tx1"/>
                </a:solidFill>
                <a:latin typeface="+mn-lt"/>
              </a:rPr>
              <a:t>Questa diapositiva master serve a garantire che tutti i nostri personaggi siano incorporati nella presentazione. Non deve essere utilizzato in una presentazione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(ExtraLight):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+mj-lt"/>
              </a:rPr>
              <a:t>EricssonHilda(Luce):</a:t>
            </a:r>
            <a:r>
              <a:rPr lang="it" sz="1200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200" u="sng" err="1">
                <a:solidFill>
                  <a:schemeClr val="tx1"/>
                </a:solidFill>
                <a:latin typeface="+mn-lt"/>
              </a:rPr>
              <a:t>EricssonHilda (Regolare):</a:t>
            </a:r>
            <a:r>
              <a:rPr lang="it" sz="1200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j-lt"/>
              </a:rPr>
              <a:t>EricssonHildaLight+Bold(Medium):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n-lt"/>
              </a:rPr>
              <a:t>EricssonHilda+Bold(Bold):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(ExtraBold):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 #$%&amp;'()*+,./0123456789:; &lt;=&gt;?@ABCDEFGHIJKLMNOPQRSTUVWXYZ[\]^_'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66059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it"/>
              <a:t>Titolo della diapositiva, Eric. Hilda Light 40pt, Eri. Nero, max 2 line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it"/>
              <a:t>     Clicca sull'icona per aggiungere l'immagine</a:t>
            </a:r>
          </a:p>
        </p:txBody>
      </p:sp>
    </p:spTree>
    <p:extLst>
      <p:ext uri="{BB962C8B-B14F-4D97-AF65-F5344CB8AC3E}">
        <p14:creationId xmlns:p14="http://schemas.microsoft.com/office/powerpoint/2010/main" val="3681256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028B5-1FFE-1708-68E8-D383CFBD47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CB0F6C-EFDA-6873-4984-4799BC88C5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"/>
              <a:t>Fare clic per modificare lo stile dei sottotitoli mas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9633CE-334F-59C8-C63E-EA9DE11D1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3BB5D-8572-78EC-8085-4EC7B38F1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6F979F-E243-3384-6B07-E4098E62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6763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0AED1-2EF7-A21B-5139-F4BD3D753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C7A523-D39C-F1FC-8B14-6AA43C208A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8484F-A061-FEE1-A3A9-DB91C70E3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111FED-2FAD-374D-EFCE-8B3E58F4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C4A4D3-156C-4874-A8EF-D93CA362E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799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3914F-277E-D195-83AE-3D90FE35A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796C6A-0A11-57CA-EFF2-36EF273499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95EBCC-4464-B7F6-A72C-5F6BD305D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073C16-D3C4-042F-19DD-703963E7D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837161-1693-0D76-4556-E684A8529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1164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0CA96-F83F-BA78-B271-4021692FF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886684-C59B-60AE-26FB-FA25D56751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EE0C44-CD4B-7CE8-811D-973934BCE2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ED917C-CBA1-89AF-82D6-D9BADEC4F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EADB2E-0D55-62F4-F1A2-98D9041A8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9F6121-2625-99C6-B8CB-DEDDF4580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0769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62F8B-E7BF-72A1-FC33-46B06C0F4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7199DD-D0BB-9D29-E2AB-C72F5CB66B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310159-8DFB-C951-19D7-3B59ED1CB7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949058-02F4-37B2-A358-2F749CCBF9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CFEC34-B497-9BB6-6586-388A562E6B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5C1C73-09A3-4C8A-DA84-F1D433F7C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AD3B7-D048-F7DE-0FF1-9FF4FCE8D5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40B72A-0D52-893F-8847-D1D4F55B6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958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57426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DD62E-F2D3-5643-A843-C07C2CCB5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6D137-F04C-9DAA-9E5C-39728CAF9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E5813C-A000-5E3E-F4DA-7510F4981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02486-84C5-25DF-FC8D-87ED4E44C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5991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6477C8-3FFE-4D59-FE1D-F220EBE0A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55BEEE-2A3C-4F38-E181-CF30BF009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E7BCD4-4E31-39FB-ED60-A406192EF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2322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2356D-7657-83E9-5B60-30FC53A45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2A6A1-35CA-495C-F517-D6803DA2C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ADAFB8-0167-1D88-449F-2E43C36595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0F8DB9-5A99-6679-9017-8D6E4FB92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35771A-0B97-D11E-24F5-FF8C4868E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24D1C-1D4D-2A9E-C728-CDE5FE21D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769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E5FA7D-CAEA-E66F-4B39-4B8C89400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FC0449-B710-9D67-7756-C3B635C21F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4FE515-A0C7-13B5-852F-82838F505F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30B938-0413-FD42-EC4D-775645D81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E54B64-8771-89D6-0DF4-AEC03D48C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5B294D-CB9F-429E-6AB7-3A8B24502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8102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EA218-A064-9336-A5B3-CC9F52549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D10C37-9EDE-BA7A-1C19-AC8D2ADB1E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24422-BAE8-27D8-F87F-6E81B2D2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1698B2-659A-AF84-81F3-625888603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89F5CC-AF29-F580-F4CA-6A06DD263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772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1B55C6-FFA1-2786-6D81-D3152548E8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CDBE1E-8DC4-6581-BBBF-74C4F5BA08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829EEF-3F3C-CF03-2DFE-6B1347E7E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21F507-924C-F609-22C3-88B50791C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94163-7F0B-8C3D-B624-64D14A426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4377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BF89A1E-EEAE-6B55-F889-E5C2FB51A9B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501977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</a:p>
        </p:txBody>
      </p:sp>
      <p:pic>
        <p:nvPicPr>
          <p:cNvPr id="5" name="image">
            <a:extLst>
              <a:ext uri="{FF2B5EF4-FFF2-40B4-BE49-F238E27FC236}">
                <a16:creationId xmlns:a16="http://schemas.microsoft.com/office/drawing/2014/main" id="{B5CA28E1-AD67-ADD3-AD49-C84656387C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77" y="2259975"/>
            <a:ext cx="2120480" cy="212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356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"/>
              <a:t>Frontespizio/copertina, Ericsson Hilda Light 80pt, max 3 righe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Descrizione/sottotitolo/altoparlante...</a:t>
            </a:r>
            <a:br>
              <a:rPr lang="en-US"/>
            </a:br>
            <a:r>
              <a:rPr lang="it"/>
              <a:t>Ericsson Hilda Nero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Nome dell'orator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Organizzazion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"/>
              <a:t>AAAA-MM-GG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518652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103FF1A-D345-1C56-590F-D823A889B02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"/>
              <a:t>Frontespizio/copertina, Ericsson Hilda Light 80pt, max 3 righe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Descrizione/sottotitolo/altoparlante...</a:t>
            </a:r>
            <a:br>
              <a:rPr lang="en-US"/>
            </a:br>
            <a:r>
              <a:rPr lang="it"/>
              <a:t>Ericsson Hilda Nero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Nome dell'orator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Organizzazion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"/>
              <a:t>AAAA-MM-GG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0EAB151C-EA5D-17DC-B535-00FFB9FD81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28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7963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03FD5EF-20DB-46AB-B412-DF911235371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8DD11F5-924D-4907-D01E-DCB632C069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87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03FD5EF-20DB-46AB-B412-DF911235371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8DD11F5-924D-4907-D01E-DCB632C069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13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69340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9A6888F-AC26-BA8F-0055-E808E294C9D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561136CD-F1DB-03FC-F814-EFB4397772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3040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diapositive dei documenti quando è necessario spazio per un'intestazione lunga e un'area di contenuto di grandi dimension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7568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17697191-0A85-B8C8-9EEC-2BBBCA05BA9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74D3F1FB-D06C-DBD1-2450-16F10900A5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diapositive dei documenti quando è necessario spazio per un'intestazione lunga e un'area di contenuto di grandi dimension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06823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presentazioni con intestazioni brevi e nit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64188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1 smaller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8FC9BDE-AACF-FAD9-0569-2308D75B181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989B81D-94DE-1159-ADB9-A5A03B074B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presentazioni con intestazioni brevi e nit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62614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0501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2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105FD79D-9BC3-0408-DF33-0CA55CC3DCD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D355044D-CD56-AB10-6CA0-CA0669B906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8400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4301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3981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 and 3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09FDE7F6-BBC9-8CC3-CB40-B28724FF07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D6BED84F-1648-A661-5267-B4AD41FD9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3524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4151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4 colum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44FC84B-7E22-F949-A48C-665D3900E6C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E1FC2882-E07D-F2B8-C050-E922C4080D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1689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58866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4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CFC6A99-DACF-36D5-6C3E-4DC5345A90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7AA30C5B-96B9-3D1E-B8FE-49DE04E53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0381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6005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8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573FEDA-98AE-F7E3-43DF-75A830443C4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AFF8CACC-7FD5-4CBA-651F-A83C83174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7648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4195" y="5004940"/>
            <a:ext cx="6045994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</a:p>
        </p:txBody>
      </p:sp>
      <p:pic>
        <p:nvPicPr>
          <p:cNvPr id="2" name="image">
            <a:extLst>
              <a:ext uri="{FF2B5EF4-FFF2-40B4-BE49-F238E27FC236}">
                <a16:creationId xmlns:a16="http://schemas.microsoft.com/office/drawing/2014/main" id="{3DDE3DF2-4191-6EC8-7BFC-F1AAA9CFC1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77" y="2259975"/>
            <a:ext cx="2120176" cy="212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353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en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00C8FCC-57E5-3E43-E21A-B3EDA1DB3E6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944A971-8DF1-600E-1D36-CB1EC244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77" y="2260680"/>
            <a:ext cx="2119473" cy="2120400"/>
          </a:xfrm>
          <a:prstGeom prst="rect">
            <a:avLst/>
          </a:prstGeom>
        </p:spPr>
      </p:pic>
      <p:sp>
        <p:nvSpPr>
          <p:cNvPr id="2" name="SubTitle_TM">
            <a:extLst>
              <a:ext uri="{FF2B5EF4-FFF2-40B4-BE49-F238E27FC236}">
                <a16:creationId xmlns:a16="http://schemas.microsoft.com/office/drawing/2014/main" id="{FCF1ABC6-0A4C-6C18-E8A5-415153FD00B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4195" y="5004940"/>
            <a:ext cx="6045994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</a:p>
        </p:txBody>
      </p:sp>
    </p:spTree>
    <p:extLst>
      <p:ext uri="{BB962C8B-B14F-4D97-AF65-F5344CB8AC3E}">
        <p14:creationId xmlns:p14="http://schemas.microsoft.com/office/powerpoint/2010/main" val="3086923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400" b="1">
                <a:solidFill>
                  <a:schemeClr val="tx1"/>
                </a:solidFill>
                <a:latin typeface="+mn-lt"/>
              </a:rPr>
              <a:t>Questa diapositiva master serve a garantire che tutti i nostri personaggi siano incorporati nella presentazione. Non deve essere utilizzato in una presentazione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(ExtraLight):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+mj-lt"/>
              </a:rPr>
              <a:t>EricssonHilda(Luce):</a:t>
            </a:r>
            <a:r>
              <a:rPr lang="it" sz="1200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200" u="sng" err="1">
                <a:solidFill>
                  <a:schemeClr val="tx1"/>
                </a:solidFill>
                <a:latin typeface="+mn-lt"/>
              </a:rPr>
              <a:t>EricssonHilda (Regolare):</a:t>
            </a:r>
            <a:r>
              <a:rPr lang="it" sz="1200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j-lt"/>
              </a:rPr>
              <a:t>EricssonHildaLight+Bold(Medium):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n-lt"/>
              </a:rPr>
              <a:t>EricssonHilda+Bold(Bold):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(ExtraBold):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 #$%&amp;'()*+,./0123456789:; &lt;=&gt;?@ABCDEFGHIJKLMNOPQRSTUVWXYZ[\]^_'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4324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D9A6888F-AC26-BA8F-0055-E808E294C9D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561136CD-F1DB-03FC-F814-EFB4397772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0505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AB5C5-B7B1-E82B-CEC3-C4698122D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1E56B5-53B1-D9A0-BF62-A02838F94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"/>
              <a:t>Fare clic per modificare gli stili del testo mas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26781-9853-DFE9-EBE1-C29FC3CF7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CEF8-E79B-43CA-9B1A-80938BD5165E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BAA9FD-400E-611A-CB40-CF4E6DE32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FDED6E-EBF6-277C-D598-16EB66E1B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432D7-264E-4795-A8E6-9E836716E5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979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it"/>
              <a:t>Titolo della diapositiva, Eric. Hilda Light 40pt, Eri. Nero, max 2 linee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it"/>
              <a:t>     Clicca sull'icona per aggiungere l'immagine</a:t>
            </a:r>
          </a:p>
        </p:txBody>
      </p:sp>
    </p:spTree>
    <p:extLst>
      <p:ext uri="{BB962C8B-B14F-4D97-AF65-F5344CB8AC3E}">
        <p14:creationId xmlns:p14="http://schemas.microsoft.com/office/powerpoint/2010/main" val="22532148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19397-1BC6-AF05-88EB-C5CB19D828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307AC3-888A-2391-B5D7-30F03D7E83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"/>
              <a:t>Fare clic per modificare lo stile dei sottotitoli mas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4DFF3-8DD5-6EA1-6E2D-1A15879B5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CEF8-E79B-43CA-9B1A-80938BD5165E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71156E-4C23-7205-85D7-E79309A2E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3FCF6A-9ED8-55BF-9EFC-D3DC8D55D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432D7-264E-4795-A8E6-9E836716E5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83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"/>
              <a:t>Frontespizio/copertina, Ericsson Hilda Light 80pt, max 3 righe</a:t>
            </a:r>
            <a:endParaRPr lang="en-US"/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Descrizione/sottotitolo/altoparlante...</a:t>
            </a:r>
            <a:br>
              <a:rPr lang="en-GB"/>
            </a:br>
            <a:r>
              <a:rPr lang="it"/>
              <a:t>Ericsson Hilda Nero 20p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Nome dell'oratore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Organizzazione</a:t>
            </a:r>
            <a:endParaRPr lang="en-US"/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"/>
              <a:t>AAAA-MM-GG</a:t>
            </a:r>
            <a:endParaRPr lang="en-US"/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9712524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23507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03FD5EF-20DB-46AB-B412-DF9112353719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2722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25923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diapositive dei documenti quando è necessario spazio per un'intestazione lunga e un'area di contenuto di grandi dimension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5630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presentazioni con intestazioni brevi e nit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73469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5834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diapositive dei documenti quando è necessario spazio per un'intestazione lunga e un'area di contenuto di grandi dimension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68414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65869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22759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4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2"/>
            <a:r>
              <a:rPr lang="it"/>
              <a:t>Terzo livello</a:t>
            </a:r>
            <a:endParaRPr lang="en-US"/>
          </a:p>
          <a:p>
            <a:pPr lvl="3"/>
            <a:r>
              <a:rPr lang="it"/>
              <a:t>Quarto livello</a:t>
            </a:r>
            <a:endParaRPr lang="en-US"/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8963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"/>
              <a:t>Per l'intestazione, usa Ericsson Hilda in grassetto. Per la copia e gli elenchi puntati, usa E. Hilda.</a:t>
            </a:r>
            <a:endParaRPr lang="en-US"/>
          </a:p>
          <a:p>
            <a:pPr lvl="0"/>
            <a:r>
              <a:rPr lang="it"/>
              <a:t>Primo livello</a:t>
            </a:r>
            <a:endParaRPr lang="en-US"/>
          </a:p>
          <a:p>
            <a:pPr lvl="1"/>
            <a:r>
              <a:rPr lang="it"/>
              <a:t>Secondo livello</a:t>
            </a:r>
            <a:endParaRPr lang="en-US"/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7418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"/>
              <a:t>Utilizza questo spazio per URL o hashtag Ericsson pertinenti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433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400" b="1">
                <a:solidFill>
                  <a:schemeClr val="tx1"/>
                </a:solidFill>
                <a:latin typeface="+mn-lt"/>
              </a:rPr>
              <a:t>Questa diapositiva master serve a garantire che tutti i nostri personaggi siano incorporati nella presentazione. Non deve essere utilizzato in una presentazione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(ExtraLight):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u="sng" err="1">
                <a:solidFill>
                  <a:schemeClr val="tx1"/>
                </a:solidFill>
                <a:latin typeface="+mj-lt"/>
              </a:rPr>
              <a:t>EricssonHilda(Luce):</a:t>
            </a:r>
            <a:r>
              <a:rPr lang="it" sz="1200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" sz="1200" u="sng" err="1">
                <a:solidFill>
                  <a:schemeClr val="tx1"/>
                </a:solidFill>
                <a:latin typeface="+mn-lt"/>
              </a:rPr>
              <a:t>EricssonHilda (Regolare):</a:t>
            </a:r>
            <a:r>
              <a:rPr lang="it" sz="1200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j-lt"/>
              </a:rPr>
              <a:t>EricssonHildaLight+Bold(Medium):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1" err="1">
                <a:solidFill>
                  <a:schemeClr val="tx1"/>
                </a:solidFill>
                <a:latin typeface="+mj-lt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 u="sng" err="1">
                <a:solidFill>
                  <a:schemeClr val="tx1"/>
                </a:solidFill>
                <a:latin typeface="+mn-lt"/>
              </a:rPr>
              <a:t>EricssonHilda+Bold(Bold):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!" #$%&amp;'()*+,./0123456789:; &lt;=&gt;?@ABCDEFGHIJKLMNOPQRSTUVWXYZ[\]^_'</a:t>
            </a:r>
            <a:r>
              <a:rPr lang="it" sz="1200" b="1" err="1">
                <a:solidFill>
                  <a:schemeClr val="tx1"/>
                </a:solidFill>
                <a:latin typeface="+mn-lt"/>
              </a:rPr>
              <a:t>abcdefghijklmnopqrstuvwxyz{|}~¡¢£¤¥¦§ ̈©ª«¬ ® ̄°±²³'¶· ̧¹º»1/41/2ÀÁÂÃÄÅÆÇÈËÌÍÎÏÐÑÒÓÔÕÖ×ØÙÚÛÜÝÞßàáâãäåæçèéêëìíîïðñòóôõö÷øùúûüýþÿĀāĂăăąĆćĊċČčĎďĐđĒĖėĘęĚěĞğĠġĢģĪīĮįİıĶķĹĺĻļĽľŁłŃńŅņŇňŌŐőŒœŔŕŖŗŘŚśŞŠšŢţŤťŪūŮůŰűŲńŅŇňŌőŐŒœŔŕŖŗŘŚśŞşŠšŢţŤťŪūŮůŰűŲűŲńŅŇňŌŐőŒœŔŖŗŘŚśŞŠŢŢŤŤŪūŮůŰŰŲűŲłŲńŅŇňŐőŒŒŔŖŗŘŚŚŞŠŢŢŤŪūŮůŮŮŮŮŰŰŲűŲłŃŅŇňŐőŐŒŔŖŗŘŘŚŚŚŞŠŢŢŤŤŪūŪŮŮŮŮŮŮŮŮŮŮŮŮŮŮT�ŴŵŶŷŸŹźŻŽžƒȘșˆˇ ̆ ̇° ̨ ̃ ̋ẀẁẃẄẳỳ'''""""†‡•...‰‹›⁄€ĀĀĂĂĄĄĆĆĊĊČČĎĎĐĐĒĒĖĖĘĘĚĚĞĞĠĢĢĪĪĮĮİĶĶĶ‹›⁄€™ĀĀĂĄĄĆĊĊČČĎĎĐĐĒĒĖĖĘĘĚĚĞĞĠĢĢĪĪĮĮİĶĶĶĹĹĻĻĽĽŃŃŅŅŇŇŌŐŐŔŔŖŖŘŘŚŚŞŞŢŤŤŪŪŮŮŰŰŲŲŴŴŶŶŹŹŻŻȘș−≤≥fiflΆΈΉΊΌΎΏΐΑΒΓΕΖΗΘΙΚΛΜΝΞΟΠΡΣΤΥΦΧΨΪΫΆΈΉΊΰ</a:t>
            </a:r>
            <a:r>
              <a:rPr lang="it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(ExtraBold):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 #$%&amp;'()*+,./0123456789:; &lt;=&gt;?@ABCDEFGHIJKLMNOPQRSTUVWXYZ[\]^_'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{|}~¡¢£¤¥¦§ ̈©ª«¬ ® ̄°±²³'¶· ̧¹º»1/41/2ÀÁÂÃÄÅÆÇÈËÌÍÎÏÐÑÒÓÔÕÖ×ØÙÚÛÜÝÞßàáâãäåæçèéêëìíîïðñòóôõö÷øùúûüýþÿĀāĂăăİĀăăİĀăăİĆćĊċ</a:t>
            </a:r>
            <a:r>
              <a:rPr lang="it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ŚśŞŠšŢŤŤŪūŮůŰűŲŲŲ ųŴŵŶŷŸŹźŻŽžƒȘșˆˇ ̆ ̇° ̨ ̃ ̋</a:t>
            </a:r>
            <a:r>
              <a:rPr lang="it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'''""""†‡•...‰‹›⁄€ĀĀĂĂĄĄĆĆĊĊČČĎĎĐĐĒĒĖĖĘĘĚĚĞĞĠĠĢĢĪĪĮĮİĶČ‹›⁄€™ĀĀĂĂĄĄĆĆĊĊČĎĎĐĐĒĒĖĖĘĚĚĞĞĠĠĢĢĪĪĮĮİĶ�Ĺ�ĺĺļļľľńńņņňňōőőŕŕŗŗřřśśşşţťťūūůůűűųųŵŵŷŷźźżżșș−≤≥fiflΆΈΉΊΌΎΏΐΑΒΓΕΖΗΘΙΚΛΜΝΞΟΠΡΣΤΥΦΧΨΪΫΆΈΉΊΰ</a:t>
            </a:r>
            <a:r>
              <a:rPr lang="it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70887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DD62E-F2D3-5643-A843-C07C2CCB5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6D137-F04C-9DAA-9E5C-39728CAF9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E5813C-A000-5E3E-F4DA-7510F4981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02486-84C5-25DF-FC8D-87ED4E44C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5521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2E0CD290-4DD2-81D7-F183-4AC097EA65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5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992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58A285C5-D4A0-4380-A21B-23CD46DAC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49401" y="6375400"/>
            <a:ext cx="5040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800" smtClean="0">
                <a:solidFill>
                  <a:srgbClr val="87888A"/>
                </a:solidFill>
                <a:latin typeface="Ericsson Hilda Light"/>
              </a:defRPr>
            </a:lvl1pPr>
          </a:lstStyle>
          <a:p>
            <a:fld id="{E8644E58-6745-45A3-8DEA-10A5B653564F}" type="datetime5">
              <a:rPr lang="en-US" smtClean="0"/>
              <a:t>27-Jun-25</a:t>
            </a:fld>
            <a:endParaRPr lang="sv-SE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DB983D07-C744-4583-B345-CA4CFB838E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050" y="6375400"/>
            <a:ext cx="10080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Ericsson Co</a:t>
            </a:r>
            <a:r>
              <a:rPr lang="en-US" b="1"/>
              <a:t>n</a:t>
            </a:r>
            <a:r>
              <a:rPr lang="en-US"/>
              <a:t>fidential |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E66702C-A6FB-4935-A134-462EB09E1D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36315" y="6375400"/>
            <a:ext cx="27432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800" smtClean="0">
                <a:solidFill>
                  <a:srgbClr val="87888A"/>
                </a:solidFill>
                <a:latin typeface="Ericsson Hilda Light"/>
              </a:defRPr>
            </a:lvl1pPr>
          </a:lstStyle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9871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17697191-0A85-B8C8-9EEC-2BBBCA05BA9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74D3F1FB-D06C-DBD1-2450-16F10900A5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diapositive dei documenti quando è necessario spazio per un'intestazione lunga e un'area di contenuto di grandi dimension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3253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it"/>
              <a:t>Utilizzare questo layout per le presentazioni con intestazioni brevi e nit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it"/>
              <a:t>Per l'intestazione, usa Ericsson Hilda in grassetto. Per il testo e i punti elenco, utilizzare Ericsson Hilda.</a:t>
            </a:r>
          </a:p>
          <a:p>
            <a:pPr lvl="0"/>
            <a:r>
              <a:rPr lang="it"/>
              <a:t>Primo livello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421638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4222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image" Target="../media/image4.sv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  <a:p>
            <a:pPr lvl="5"/>
            <a:r>
              <a:rPr lang="it"/>
              <a:t>6</a:t>
            </a:r>
          </a:p>
          <a:p>
            <a:pPr lvl="6"/>
            <a:r>
              <a:rPr lang="it"/>
              <a:t>7</a:t>
            </a:r>
          </a:p>
          <a:p>
            <a:pPr lvl="7"/>
            <a:r>
              <a:rPr lang="it"/>
              <a:t>8</a:t>
            </a:r>
          </a:p>
          <a:p>
            <a:pPr lvl="8"/>
            <a:r>
              <a:rPr lang="it"/>
              <a:t>9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ADDB58AC-4EFC-E7F9-0735-7729D36BFF8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88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5" r:id="rId2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47E402-D787-88D9-A18B-BAC12514D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/>
              <a:t>Fare clic per modificare lo stile del titolo princip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F6BF90-EB2D-7667-37C2-72A3EDAB94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E0906E-D040-0B43-06A2-88F466078E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26A794-8294-404D-BC8D-0298675557E7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EDC68-C1AC-2128-5BBA-4BEB5BBE8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6DD5B-382D-7350-E362-039CDD9904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24763D0-4680-415E-8D09-B75F5D4E9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9467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72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"/>
              <a:t>Titolo diapositiva, Ericsson Hilda Light 40pt, Ericsson Black, max 2 righ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it"/>
              <a:t>Fare clic per modificare gli stili del testo master</a:t>
            </a:r>
          </a:p>
          <a:p>
            <a:pPr lvl="1"/>
            <a:r>
              <a:rPr lang="it"/>
              <a:t>Secondo livello</a:t>
            </a:r>
          </a:p>
          <a:p>
            <a:pPr lvl="2"/>
            <a:r>
              <a:rPr lang="it"/>
              <a:t>Terzo livello</a:t>
            </a:r>
          </a:p>
          <a:p>
            <a:pPr lvl="3"/>
            <a:r>
              <a:rPr lang="it"/>
              <a:t>Quarto livello</a:t>
            </a:r>
          </a:p>
          <a:p>
            <a:pPr lvl="4"/>
            <a:r>
              <a:rPr lang="it"/>
              <a:t>Quinto livello</a:t>
            </a:r>
          </a:p>
          <a:p>
            <a:pPr lvl="5"/>
            <a:r>
              <a:rPr lang="it"/>
              <a:t>6</a:t>
            </a:r>
          </a:p>
          <a:p>
            <a:pPr lvl="6"/>
            <a:r>
              <a:rPr lang="it"/>
              <a:t>7</a:t>
            </a:r>
          </a:p>
          <a:p>
            <a:pPr lvl="7"/>
            <a:r>
              <a:rPr lang="it"/>
              <a:t>8</a:t>
            </a:r>
          </a:p>
          <a:p>
            <a:pPr lvl="8"/>
            <a:r>
              <a:rPr lang="it"/>
              <a:t>9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ADDB58AC-4EFC-E7F9-0735-7729D36BFF82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626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"/>
              <a:t>Titolo diapositiva, Ericsson Hilda Light 40pt, Ericsson Black, max 2 righ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it"/>
              <a:t>Mintaszöveg szerkesztése</a:t>
            </a:r>
          </a:p>
          <a:p>
            <a:pPr lvl="1"/>
            <a:r>
              <a:rPr lang="it"/>
              <a:t>Második szint</a:t>
            </a:r>
          </a:p>
          <a:p>
            <a:pPr lvl="2"/>
            <a:r>
              <a:rPr lang="it"/>
              <a:t>Harmadik szint</a:t>
            </a:r>
          </a:p>
          <a:p>
            <a:pPr lvl="3"/>
            <a:r>
              <a:rPr lang="it"/>
              <a:t>Negyedik színt</a:t>
            </a:r>
          </a:p>
          <a:p>
            <a:pPr lvl="4"/>
            <a:r>
              <a:rPr lang="it"/>
              <a:t>Ötödik szint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02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802" r:id="rId14"/>
    <p:sldLayoutId id="2147483803" r:id="rId15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3.xml"/><Relationship Id="rId5" Type="http://schemas.openxmlformats.org/officeDocument/2006/relationships/image" Target="../media/image10.emf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4.xml"/><Relationship Id="rId6" Type="http://schemas.openxmlformats.org/officeDocument/2006/relationships/image" Target="../media/image10.emf"/><Relationship Id="rId5" Type="http://schemas.openxmlformats.org/officeDocument/2006/relationships/image" Target="../media/image92.png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2.png"/><Relationship Id="rId7" Type="http://schemas.microsoft.com/office/2007/relationships/hdphoto" Target="../media/hdphoto2.wdp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26" Type="http://schemas.openxmlformats.org/officeDocument/2006/relationships/image" Target="../media/image32.svg"/><Relationship Id="rId21" Type="http://schemas.openxmlformats.org/officeDocument/2006/relationships/image" Target="../media/image27.png"/><Relationship Id="rId34" Type="http://schemas.openxmlformats.org/officeDocument/2006/relationships/image" Target="../media/image40.svg"/><Relationship Id="rId7" Type="http://schemas.openxmlformats.org/officeDocument/2006/relationships/tags" Target="../tags/tag10.xml"/><Relationship Id="rId12" Type="http://schemas.openxmlformats.org/officeDocument/2006/relationships/image" Target="../media/image18.jpe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33" Type="http://schemas.openxmlformats.org/officeDocument/2006/relationships/image" Target="../media/image39.png"/><Relationship Id="rId38" Type="http://schemas.openxmlformats.org/officeDocument/2006/relationships/image" Target="../media/image2.emf"/><Relationship Id="rId2" Type="http://schemas.openxmlformats.org/officeDocument/2006/relationships/tags" Target="../tags/tag5.xml"/><Relationship Id="rId16" Type="http://schemas.openxmlformats.org/officeDocument/2006/relationships/image" Target="../media/image22.svg"/><Relationship Id="rId20" Type="http://schemas.openxmlformats.org/officeDocument/2006/relationships/image" Target="../media/image26.svg"/><Relationship Id="rId29" Type="http://schemas.openxmlformats.org/officeDocument/2006/relationships/image" Target="../media/image35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1.xml"/><Relationship Id="rId24" Type="http://schemas.openxmlformats.org/officeDocument/2006/relationships/image" Target="../media/image30.svg"/><Relationship Id="rId32" Type="http://schemas.openxmlformats.org/officeDocument/2006/relationships/image" Target="../media/image38.svg"/><Relationship Id="rId37" Type="http://schemas.openxmlformats.org/officeDocument/2006/relationships/image" Target="../media/image10.emf"/><Relationship Id="rId5" Type="http://schemas.openxmlformats.org/officeDocument/2006/relationships/tags" Target="../tags/tag8.xml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28" Type="http://schemas.openxmlformats.org/officeDocument/2006/relationships/image" Target="../media/image34.svg"/><Relationship Id="rId36" Type="http://schemas.openxmlformats.org/officeDocument/2006/relationships/image" Target="../media/image42.svg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25.png"/><Relationship Id="rId31" Type="http://schemas.openxmlformats.org/officeDocument/2006/relationships/image" Target="../media/image37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0.svg"/><Relationship Id="rId22" Type="http://schemas.openxmlformats.org/officeDocument/2006/relationships/image" Target="../media/image28.svg"/><Relationship Id="rId27" Type="http://schemas.openxmlformats.org/officeDocument/2006/relationships/image" Target="../media/image33.png"/><Relationship Id="rId30" Type="http://schemas.openxmlformats.org/officeDocument/2006/relationships/image" Target="../media/image36.svg"/><Relationship Id="rId35" Type="http://schemas.openxmlformats.org/officeDocument/2006/relationships/image" Target="../media/image41.png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2.emf"/><Relationship Id="rId18" Type="http://schemas.openxmlformats.org/officeDocument/2006/relationships/image" Target="../media/image35.png"/><Relationship Id="rId3" Type="http://schemas.openxmlformats.org/officeDocument/2006/relationships/tags" Target="../tags/tag15.xml"/><Relationship Id="rId21" Type="http://schemas.openxmlformats.org/officeDocument/2006/relationships/image" Target="../media/image50.svg"/><Relationship Id="rId7" Type="http://schemas.openxmlformats.org/officeDocument/2006/relationships/tags" Target="../tags/tag19.xml"/><Relationship Id="rId12" Type="http://schemas.openxmlformats.org/officeDocument/2006/relationships/image" Target="../media/image44.png"/><Relationship Id="rId17" Type="http://schemas.openxmlformats.org/officeDocument/2006/relationships/image" Target="../media/image48.svg"/><Relationship Id="rId25" Type="http://schemas.openxmlformats.org/officeDocument/2006/relationships/image" Target="../media/image53.svg"/><Relationship Id="rId2" Type="http://schemas.openxmlformats.org/officeDocument/2006/relationships/tags" Target="../tags/tag14.xml"/><Relationship Id="rId16" Type="http://schemas.openxmlformats.org/officeDocument/2006/relationships/image" Target="../media/image47.png"/><Relationship Id="rId20" Type="http://schemas.openxmlformats.org/officeDocument/2006/relationships/image" Target="../media/image49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18.jpeg"/><Relationship Id="rId24" Type="http://schemas.openxmlformats.org/officeDocument/2006/relationships/image" Target="../media/image52.png"/><Relationship Id="rId5" Type="http://schemas.openxmlformats.org/officeDocument/2006/relationships/tags" Target="../tags/tag17.xml"/><Relationship Id="rId15" Type="http://schemas.openxmlformats.org/officeDocument/2006/relationships/image" Target="../media/image46.svg"/><Relationship Id="rId23" Type="http://schemas.openxmlformats.org/officeDocument/2006/relationships/image" Target="../media/image51.svg"/><Relationship Id="rId10" Type="http://schemas.openxmlformats.org/officeDocument/2006/relationships/image" Target="../media/image43.png"/><Relationship Id="rId19" Type="http://schemas.openxmlformats.org/officeDocument/2006/relationships/image" Target="../media/image36.svg"/><Relationship Id="rId4" Type="http://schemas.openxmlformats.org/officeDocument/2006/relationships/tags" Target="../tags/tag16.xml"/><Relationship Id="rId9" Type="http://schemas.openxmlformats.org/officeDocument/2006/relationships/notesSlide" Target="../notesSlides/notesSlide2.xml"/><Relationship Id="rId14" Type="http://schemas.openxmlformats.org/officeDocument/2006/relationships/image" Target="../media/image45.png"/><Relationship Id="rId22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6.xml"/><Relationship Id="rId7" Type="http://schemas.openxmlformats.org/officeDocument/2006/relationships/slide" Target="slide7.xml"/><Relationship Id="rId12" Type="http://schemas.openxmlformats.org/officeDocument/2006/relationships/image" Target="../media/image5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8.jpeg"/><Relationship Id="rId11" Type="http://schemas.openxmlformats.org/officeDocument/2006/relationships/image" Target="../media/image58.png"/><Relationship Id="rId5" Type="http://schemas.openxmlformats.org/officeDocument/2006/relationships/image" Target="../media/image54.png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2.png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61.png"/><Relationship Id="rId11" Type="http://schemas.openxmlformats.org/officeDocument/2006/relationships/slide" Target="slide5.xml"/><Relationship Id="rId5" Type="http://schemas.openxmlformats.org/officeDocument/2006/relationships/image" Target="../media/image60.png"/><Relationship Id="rId10" Type="http://schemas.openxmlformats.org/officeDocument/2006/relationships/image" Target="../media/image65.png"/><Relationship Id="rId4" Type="http://schemas.openxmlformats.org/officeDocument/2006/relationships/image" Target="../media/image18.jpeg"/><Relationship Id="rId9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svg"/><Relationship Id="rId3" Type="http://schemas.openxmlformats.org/officeDocument/2006/relationships/image" Target="../media/image18.jpeg"/><Relationship Id="rId7" Type="http://schemas.openxmlformats.org/officeDocument/2006/relationships/image" Target="../media/image69.png"/><Relationship Id="rId12" Type="http://schemas.openxmlformats.org/officeDocument/2006/relationships/image" Target="../media/image7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8.png"/><Relationship Id="rId11" Type="http://schemas.openxmlformats.org/officeDocument/2006/relationships/image" Target="../media/image72.png"/><Relationship Id="rId5" Type="http://schemas.openxmlformats.org/officeDocument/2006/relationships/image" Target="../media/image67.svg"/><Relationship Id="rId10" Type="http://schemas.openxmlformats.org/officeDocument/2006/relationships/image" Target="../media/image2.emf"/><Relationship Id="rId4" Type="http://schemas.openxmlformats.org/officeDocument/2006/relationships/image" Target="../media/image66.png"/><Relationship Id="rId9" Type="http://schemas.openxmlformats.org/officeDocument/2006/relationships/image" Target="../media/image7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.emf"/><Relationship Id="rId3" Type="http://schemas.openxmlformats.org/officeDocument/2006/relationships/notesSlide" Target="../notesSlides/notesSlide6.xml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83.png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86.svg"/><Relationship Id="rId1" Type="http://schemas.openxmlformats.org/officeDocument/2006/relationships/tags" Target="../tags/tag2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70.png"/><Relationship Id="rId5" Type="http://schemas.openxmlformats.org/officeDocument/2006/relationships/diagramData" Target="../diagrams/data1.xml"/><Relationship Id="rId15" Type="http://schemas.openxmlformats.org/officeDocument/2006/relationships/image" Target="../media/image85.png"/><Relationship Id="rId10" Type="http://schemas.openxmlformats.org/officeDocument/2006/relationships/image" Target="../media/image68.png"/><Relationship Id="rId4" Type="http://schemas.openxmlformats.org/officeDocument/2006/relationships/image" Target="../media/image18.jpeg"/><Relationship Id="rId9" Type="http://schemas.microsoft.com/office/2007/relationships/diagramDrawing" Target="../diagrams/drawing1.xml"/><Relationship Id="rId14" Type="http://schemas.openxmlformats.org/officeDocument/2006/relationships/image" Target="../media/image8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18.jpeg"/><Relationship Id="rId7" Type="http://schemas.openxmlformats.org/officeDocument/2006/relationships/image" Target="../media/image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7.png"/><Relationship Id="rId5" Type="http://schemas.openxmlformats.org/officeDocument/2006/relationships/slide" Target="slide7.xml"/><Relationship Id="rId4" Type="http://schemas.openxmlformats.org/officeDocument/2006/relationships/slide" Target="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0A3180E-E39C-DA0F-0996-6BB2E84CE5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9D1603A8-B106-49C8-9A85-772F771CEA7B}"/>
              </a:ext>
            </a:extLst>
          </p:cNvPr>
          <p:cNvSpPr txBox="1">
            <a:spLocks/>
          </p:cNvSpPr>
          <p:nvPr/>
        </p:nvSpPr>
        <p:spPr>
          <a:xfrm>
            <a:off x="479424" y="476250"/>
            <a:ext cx="8267761" cy="345757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8000" b="0" i="0" u="none" strike="noStrike" kern="1400" cap="none" spc="-1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Digital EHS</a:t>
            </a:r>
          </a:p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5400" b="0" i="0" u="none" strike="noStrike" kern="1400" cap="none" spc="-1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Integrazione degli strumenti digitali nella strategia EHS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C845FF77-4366-46F5-98BF-D30F6C614057}"/>
              </a:ext>
            </a:extLst>
          </p:cNvPr>
          <p:cNvSpPr txBox="1">
            <a:spLocks/>
          </p:cNvSpPr>
          <p:nvPr/>
        </p:nvSpPr>
        <p:spPr>
          <a:xfrm>
            <a:off x="10811951" y="6264000"/>
            <a:ext cx="897503" cy="262800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None/>
              <a:tabLst/>
              <a:defRPr/>
            </a:pPr>
            <a:r>
              <a:rPr kumimoji="0" lang="it" sz="1100" b="0" i="0" u="none" strike="noStrike" kern="10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2025-06-27</a:t>
            </a:r>
          </a:p>
        </p:txBody>
      </p:sp>
      <p:pic>
        <p:nvPicPr>
          <p:cNvPr id="3" name="image">
            <a:extLst>
              <a:ext uri="{FF2B5EF4-FFF2-40B4-BE49-F238E27FC236}">
                <a16:creationId xmlns:a16="http://schemas.microsoft.com/office/drawing/2014/main" id="{DAEC3314-5450-C026-13D0-9639557A18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0916" y="188201"/>
            <a:ext cx="482228" cy="4824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D2A986-10B0-D642-88A3-540ED20C905D}"/>
              </a:ext>
            </a:extLst>
          </p:cNvPr>
          <p:cNvSpPr txBox="1"/>
          <p:nvPr/>
        </p:nvSpPr>
        <p:spPr>
          <a:xfrm>
            <a:off x="479424" y="5713841"/>
            <a:ext cx="6833616" cy="66790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2000" b="0" i="0" u="none" strike="noStrike" kern="1000" cap="none" spc="-30" normalizeH="0" baseline="0" noProof="0">
                <a:ln>
                  <a:noFill/>
                </a:ln>
                <a:effectLst/>
                <a:uLnTx/>
                <a:uFillTx/>
                <a:latin typeface="Ericsson Hilda"/>
                <a:ea typeface="+mn-ea"/>
                <a:cs typeface="+mn-cs"/>
              </a:rPr>
              <a:t>Premio Unindustria "Salute e Sicurezza sul Lavoro" 2025 </a:t>
            </a:r>
            <a:endParaRPr kumimoji="0" lang="en-SE" sz="2000" b="0" i="0" u="none" strike="noStrike" kern="1000" cap="none" spc="-30" normalizeH="0" baseline="0" noProof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5" name="image">
            <a:extLst>
              <a:ext uri="{FF2B5EF4-FFF2-40B4-BE49-F238E27FC236}">
                <a16:creationId xmlns:a16="http://schemas.microsoft.com/office/drawing/2014/main" id="{BA35B13D-F735-919A-30F2-7E144E54E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96" y="566135"/>
            <a:ext cx="1042873" cy="10623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507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084E97-76E1-3669-D59A-B670F8693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04B09CCA-A370-991C-8CC8-AB1020FBE4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id="{E22E458E-F1A7-077E-3533-5E033C673277}"/>
              </a:ext>
            </a:extLst>
          </p:cNvPr>
          <p:cNvSpPr txBox="1">
            <a:spLocks/>
          </p:cNvSpPr>
          <p:nvPr/>
        </p:nvSpPr>
        <p:spPr bwMode="auto">
          <a:xfrm>
            <a:off x="475488" y="365760"/>
            <a:ext cx="85098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40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Monitoraggio KPI EHS centralizzato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FB4F1BCE-33D0-981A-F130-AFEB85D7BD35}"/>
              </a:ext>
            </a:extLst>
          </p:cNvPr>
          <p:cNvSpPr txBox="1">
            <a:spLocks/>
          </p:cNvSpPr>
          <p:nvPr/>
        </p:nvSpPr>
        <p:spPr>
          <a:xfrm>
            <a:off x="1" y="109728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-IT" sz="1400" b="1" i="0" u="none" strike="noStrike" kern="10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Reportistica centralizzata degli indicatori di sicurezza (KPI), sviluppata per un monitoraggio rapido, semplificato e preciso</a:t>
            </a:r>
            <a:endParaRPr kumimoji="0" lang="it" sz="1400" b="1" i="0" u="none" strike="noStrike" kern="10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E50C903-7E7F-92E3-D4E5-B147FE37D3EA}"/>
              </a:ext>
            </a:extLst>
          </p:cNvPr>
          <p:cNvSpPr txBox="1">
            <a:spLocks/>
          </p:cNvSpPr>
          <p:nvPr/>
        </p:nvSpPr>
        <p:spPr>
          <a:xfrm>
            <a:off x="176765" y="1935179"/>
            <a:ext cx="6557470" cy="2987642"/>
          </a:xfrm>
          <a:prstGeom prst="rect">
            <a:avLst/>
          </a:prstGeom>
          <a:ln>
            <a:noFill/>
          </a:ln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" sz="1600" dirty="0">
                <a:solidFill>
                  <a:schemeClr val="bg1"/>
                </a:solidFill>
              </a:rPr>
              <a:t>KPI aggregati da più fonti in un unico report</a:t>
            </a:r>
          </a:p>
          <a:p>
            <a:r>
              <a:rPr lang="it-IT" sz="1600" dirty="0">
                <a:solidFill>
                  <a:schemeClr val="bg1"/>
                </a:solidFill>
              </a:rPr>
              <a:t>Raccolta e aggiornamento automatico dei dati tramite Power </a:t>
            </a:r>
            <a:r>
              <a:rPr lang="it-IT" sz="1600" dirty="0" err="1">
                <a:solidFill>
                  <a:schemeClr val="bg1"/>
                </a:solidFill>
              </a:rPr>
              <a:t>Automate</a:t>
            </a:r>
            <a:endParaRPr lang="it-IT" sz="1600" dirty="0">
              <a:solidFill>
                <a:schemeClr val="bg1"/>
              </a:solidFill>
            </a:endParaRPr>
          </a:p>
          <a:p>
            <a:r>
              <a:rPr lang="it-IT" sz="1600" dirty="0">
                <a:solidFill>
                  <a:schemeClr val="bg1"/>
                </a:solidFill>
              </a:rPr>
              <a:t>Analisi approfondita su più livelli di reportistica per l’individuazione delle cause </a:t>
            </a:r>
          </a:p>
          <a:p>
            <a:r>
              <a:rPr lang="it" sz="1600" dirty="0">
                <a:solidFill>
                  <a:schemeClr val="bg1"/>
                </a:solidFill>
              </a:rPr>
              <a:t>Esportazione dei risultati in formato pdf/pptx con un semplice click</a:t>
            </a:r>
          </a:p>
          <a:p>
            <a:r>
              <a:rPr lang="it" sz="1600" dirty="0">
                <a:solidFill>
                  <a:schemeClr val="bg1"/>
                </a:solidFill>
              </a:rPr>
              <a:t>Dashboard interattive per decisioni rapide e basate sui fatti </a:t>
            </a:r>
          </a:p>
          <a:p>
            <a:r>
              <a:rPr lang="it" sz="1600" dirty="0">
                <a:solidFill>
                  <a:schemeClr val="bg1"/>
                </a:solidFill>
              </a:rPr>
              <a:t>Report istantanei su qualsiasi dispositivo</a:t>
            </a:r>
          </a:p>
          <a:p>
            <a:r>
              <a:rPr lang="it" sz="1600" dirty="0">
                <a:solidFill>
                  <a:schemeClr val="bg1"/>
                </a:solidFill>
              </a:rPr>
              <a:t>La sicurezza dei dati è garantita da solidi controlli di gestione degli utenti</a:t>
            </a:r>
          </a:p>
          <a:p>
            <a:r>
              <a:rPr lang="it" sz="1600" dirty="0">
                <a:solidFill>
                  <a:schemeClr val="bg1"/>
                </a:solidFill>
              </a:rPr>
              <a:t>Basato sull'infrastruttura IT esistente</a:t>
            </a:r>
          </a:p>
          <a:p>
            <a:endParaRPr lang="en-US" sz="1600" dirty="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pic>
        <p:nvPicPr>
          <p:cNvPr id="19" name="Picture PCC" descr="Uno screenshot di un grafico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C67445AF-58E6-796A-DE3C-3079EA73DC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289" y="3941698"/>
            <a:ext cx="3273900" cy="187549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Picture Scorecard" descr="Un primo piano di un grafico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50C65D2F-1BC6-5B73-AE41-4E3F209A31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310" y="4282620"/>
            <a:ext cx="3749217" cy="199670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3" name="Arrow: Right 22">
            <a:extLst>
              <a:ext uri="{FF2B5EF4-FFF2-40B4-BE49-F238E27FC236}">
                <a16:creationId xmlns:a16="http://schemas.microsoft.com/office/drawing/2014/main" id="{FAC63A06-63B2-9501-5C39-109344416423}"/>
              </a:ext>
            </a:extLst>
          </p:cNvPr>
          <p:cNvSpPr/>
          <p:nvPr/>
        </p:nvSpPr>
        <p:spPr>
          <a:xfrm rot="5400000">
            <a:off x="8736279" y="3221307"/>
            <a:ext cx="803401" cy="637381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Data Sources">
            <a:extLst>
              <a:ext uri="{FF2B5EF4-FFF2-40B4-BE49-F238E27FC236}">
                <a16:creationId xmlns:a16="http://schemas.microsoft.com/office/drawing/2014/main" id="{40831DE9-7943-03F6-ACBC-07659596E98D}"/>
              </a:ext>
            </a:extLst>
          </p:cNvPr>
          <p:cNvGrpSpPr/>
          <p:nvPr/>
        </p:nvGrpSpPr>
        <p:grpSpPr>
          <a:xfrm>
            <a:off x="6759075" y="1819446"/>
            <a:ext cx="4619898" cy="1467006"/>
            <a:chOff x="7062534" y="1762607"/>
            <a:chExt cx="4619898" cy="1467006"/>
          </a:xfrm>
        </p:grpSpPr>
        <p:sp>
          <p:nvSpPr>
            <p:cNvPr id="22" name="Rectangle: Data Sources">
              <a:extLst>
                <a:ext uri="{FF2B5EF4-FFF2-40B4-BE49-F238E27FC236}">
                  <a16:creationId xmlns:a16="http://schemas.microsoft.com/office/drawing/2014/main" id="{7A3F3196-EC61-B29A-BE12-3C5EB6537FDE}"/>
                </a:ext>
              </a:extLst>
            </p:cNvPr>
            <p:cNvSpPr/>
            <p:nvPr/>
          </p:nvSpPr>
          <p:spPr>
            <a:xfrm>
              <a:off x="7062534" y="1762607"/>
              <a:ext cx="4619898" cy="1384237"/>
            </a:xfrm>
            <a:prstGeom prst="roundRect">
              <a:avLst>
                <a:gd name="adj" fmla="val 7642"/>
              </a:avLst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it" sz="1100">
                  <a:solidFill>
                    <a:schemeClr val="bg1"/>
                  </a:solidFill>
                  <a:latin typeface="Ericsson Hilda Medium" panose="00000600000000000000" pitchFamily="2" charset="0"/>
                </a:rPr>
                <a:t>Base dati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8F115DE-4DAB-4431-5D2A-623B18082C63}"/>
                </a:ext>
              </a:extLst>
            </p:cNvPr>
            <p:cNvSpPr txBox="1"/>
            <p:nvPr/>
          </p:nvSpPr>
          <p:spPr>
            <a:xfrm>
              <a:off x="9229226" y="2860281"/>
              <a:ext cx="8766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">
                  <a:solidFill>
                    <a:schemeClr val="bg1"/>
                  </a:solidFill>
                </a:rPr>
                <a:t>…</a:t>
              </a:r>
            </a:p>
          </p:txBody>
        </p:sp>
      </p:grpSp>
      <p:sp>
        <p:nvSpPr>
          <p:cNvPr id="7" name="Rectangle: Automation">
            <a:extLst>
              <a:ext uri="{FF2B5EF4-FFF2-40B4-BE49-F238E27FC236}">
                <a16:creationId xmlns:a16="http://schemas.microsoft.com/office/drawing/2014/main" id="{D6F577AF-F4E2-33DF-11D3-31226C5F7DD4}"/>
              </a:ext>
            </a:extLst>
          </p:cNvPr>
          <p:cNvSpPr/>
          <p:nvPr/>
        </p:nvSpPr>
        <p:spPr>
          <a:xfrm>
            <a:off x="6750030" y="3293083"/>
            <a:ext cx="4619898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>
                <a:solidFill>
                  <a:schemeClr val="bg1"/>
                </a:solidFill>
              </a:rPr>
              <a:t>AUTOMAZIONE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A955D9-F985-7813-DBE1-AE82E8D5CE37}"/>
              </a:ext>
            </a:extLst>
          </p:cNvPr>
          <p:cNvSpPr/>
          <p:nvPr/>
        </p:nvSpPr>
        <p:spPr>
          <a:xfrm>
            <a:off x="8341640" y="2123859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Gestione degli incidenti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985E963-65EA-4347-4B3B-547213635AB2}"/>
              </a:ext>
            </a:extLst>
          </p:cNvPr>
          <p:cNvSpPr/>
          <p:nvPr/>
        </p:nvSpPr>
        <p:spPr>
          <a:xfrm>
            <a:off x="8341641" y="2452028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Audits on Lin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080CD38-7516-7ABB-753E-1D59558F4838}"/>
              </a:ext>
            </a:extLst>
          </p:cNvPr>
          <p:cNvSpPr/>
          <p:nvPr/>
        </p:nvSpPr>
        <p:spPr>
          <a:xfrm>
            <a:off x="9821938" y="2111562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Gestione delle consequenz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3D18FF6-D4B5-51A0-7734-0C3B2CEEBB76}"/>
              </a:ext>
            </a:extLst>
          </p:cNvPr>
          <p:cNvSpPr/>
          <p:nvPr/>
        </p:nvSpPr>
        <p:spPr>
          <a:xfrm>
            <a:off x="9821937" y="2445439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Fornitor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8A276E-B49A-A427-232C-3FC59FFED2A5}"/>
              </a:ext>
            </a:extLst>
          </p:cNvPr>
          <p:cNvSpPr/>
          <p:nvPr/>
        </p:nvSpPr>
        <p:spPr>
          <a:xfrm>
            <a:off x="6849311" y="2475519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EHS Certificazione di Maturità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A87F85C-0795-929F-60B3-04E29686E5EE}"/>
              </a:ext>
            </a:extLst>
          </p:cNvPr>
          <p:cNvSpPr/>
          <p:nvPr/>
        </p:nvSpPr>
        <p:spPr>
          <a:xfrm>
            <a:off x="6849310" y="2136211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Formazion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70B6C82-44F2-6964-74FB-74F63E43F614}"/>
              </a:ext>
            </a:extLst>
          </p:cNvPr>
          <p:cNvSpPr/>
          <p:nvPr/>
        </p:nvSpPr>
        <p:spPr>
          <a:xfrm>
            <a:off x="6849311" y="2810779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KPI ambientali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2C444D6-5B1D-0566-1BDB-1F6A7401029C}"/>
              </a:ext>
            </a:extLst>
          </p:cNvPr>
          <p:cNvSpPr/>
          <p:nvPr/>
        </p:nvSpPr>
        <p:spPr>
          <a:xfrm>
            <a:off x="8341641" y="2791169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Audit in Sito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B8CC826-4540-4F66-FBC4-FE326810457A}"/>
              </a:ext>
            </a:extLst>
          </p:cNvPr>
          <p:cNvSpPr/>
          <p:nvPr/>
        </p:nvSpPr>
        <p:spPr>
          <a:xfrm>
            <a:off x="9821936" y="2786042"/>
            <a:ext cx="1460741" cy="31055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" sz="1050">
                <a:solidFill>
                  <a:schemeClr val="bg1"/>
                </a:solidFill>
              </a:rPr>
              <a:t>Certificati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58681AB-8C59-C3B6-10B8-615D7B4A4478}"/>
              </a:ext>
            </a:extLst>
          </p:cNvPr>
          <p:cNvSpPr/>
          <p:nvPr/>
        </p:nvSpPr>
        <p:spPr bwMode="auto">
          <a:xfrm>
            <a:off x="610936" y="6052211"/>
            <a:ext cx="3121269" cy="301923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" sz="1400" dirty="0">
                <a:solidFill>
                  <a:srgbClr val="FFFFFF"/>
                </a:solidFill>
                <a:latin typeface="Ericsson Hilda Light" panose="00000400000000000000" pitchFamily="2" charset="0"/>
              </a:rPr>
              <a:t>&gt;20 KPI monitorati in un unico report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EE48E2-C9F7-32BA-36E1-72165AECA44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554" t="8257" r="3028" b="8385"/>
          <a:stretch/>
        </p:blipFill>
        <p:spPr>
          <a:xfrm>
            <a:off x="4730419" y="4721315"/>
            <a:ext cx="3632739" cy="199670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CDF04F-05EB-AB6F-B45F-16510F437AAE}"/>
              </a:ext>
            </a:extLst>
          </p:cNvPr>
          <p:cNvSpPr/>
          <p:nvPr/>
        </p:nvSpPr>
        <p:spPr bwMode="auto">
          <a:xfrm>
            <a:off x="11050438" y="850135"/>
            <a:ext cx="1129957" cy="202445"/>
          </a:xfrm>
          <a:prstGeom prst="round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PREVENZIONE</a:t>
            </a:r>
          </a:p>
        </p:txBody>
      </p:sp>
      <p:pic>
        <p:nvPicPr>
          <p:cNvPr id="18" name="image">
            <a:extLst>
              <a:ext uri="{FF2B5EF4-FFF2-40B4-BE49-F238E27FC236}">
                <a16:creationId xmlns:a16="http://schemas.microsoft.com/office/drawing/2014/main" id="{759ECF88-DDF3-5716-41FC-31E63204BE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FF27611-28F9-BE85-75AB-A7D6289069C8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9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3203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AC462-C70A-8FB6-15A0-114AA8FE5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blue surface&#10;&#10;AI-generated content may be incorrect.">
            <a:extLst>
              <a:ext uri="{FF2B5EF4-FFF2-40B4-BE49-F238E27FC236}">
                <a16:creationId xmlns:a16="http://schemas.microsoft.com/office/drawing/2014/main" id="{4040BAF7-D02B-AC70-3D61-BC050D49FF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6050" y="-37153"/>
            <a:ext cx="12324100" cy="6932306"/>
          </a:xfrm>
          <a:prstGeom prst="rect">
            <a:avLst/>
          </a:prstGeom>
          <a:ln>
            <a:noFill/>
          </a:ln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C54DFA7A-FF39-180C-5704-EDDCC344B68F}"/>
              </a:ext>
            </a:extLst>
          </p:cNvPr>
          <p:cNvSpPr txBox="1">
            <a:spLocks/>
          </p:cNvSpPr>
          <p:nvPr/>
        </p:nvSpPr>
        <p:spPr bwMode="auto">
          <a:xfrm>
            <a:off x="475488" y="365760"/>
            <a:ext cx="11745835" cy="627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Digital EHS      </a:t>
            </a:r>
            <a:r>
              <a:rPr lang="it-IT" dirty="0">
                <a:solidFill>
                  <a:schemeClr val="bg1"/>
                </a:solidFill>
                <a:latin typeface="Ericsson Hilda Light"/>
              </a:rPr>
              <a:t>-</a:t>
            </a:r>
            <a:r>
              <a:rPr kumimoji="0" lang="it-IT" sz="40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  Più Sicurezza, Meno Complessità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CD7AB45-EAAB-8C75-1FC4-37A56F2711D3}"/>
              </a:ext>
            </a:extLst>
          </p:cNvPr>
          <p:cNvSpPr/>
          <p:nvPr/>
        </p:nvSpPr>
        <p:spPr>
          <a:xfrm>
            <a:off x="9719798" y="2511527"/>
            <a:ext cx="2266256" cy="2235109"/>
          </a:xfrm>
          <a:prstGeom prst="roundRect">
            <a:avLst>
              <a:gd name="adj" fmla="val 2887"/>
            </a:avLst>
          </a:prstGeom>
          <a:solidFill>
            <a:schemeClr val="accent5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None/>
            </a:pPr>
            <a:r>
              <a:rPr lang="en-US" sz="1600" b="1" err="1">
                <a:solidFill>
                  <a:schemeClr val="bg1"/>
                </a:solidFill>
                <a:effectLst/>
              </a:rPr>
              <a:t>Conformità</a:t>
            </a:r>
            <a:r>
              <a:rPr lang="en-US" sz="1600" b="1">
                <a:solidFill>
                  <a:schemeClr val="bg1"/>
                </a:solidFill>
                <a:effectLst/>
              </a:rPr>
              <a:t> normativa </a:t>
            </a:r>
          </a:p>
          <a:p>
            <a:pPr algn="ctr">
              <a:buNone/>
            </a:pPr>
            <a:r>
              <a:rPr lang="en-US" sz="1600" b="1" err="1">
                <a:solidFill>
                  <a:schemeClr val="bg1"/>
                </a:solidFill>
                <a:effectLst/>
              </a:rPr>
              <a:t>garantita</a:t>
            </a:r>
            <a:endParaRPr lang="en-US" sz="1600">
              <a:solidFill>
                <a:schemeClr val="bg1"/>
              </a:solidFill>
              <a:effectLst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88E43D4-BE11-57E1-D3F8-F910144F827E}"/>
              </a:ext>
            </a:extLst>
          </p:cNvPr>
          <p:cNvSpPr/>
          <p:nvPr/>
        </p:nvSpPr>
        <p:spPr>
          <a:xfrm>
            <a:off x="7402808" y="1692810"/>
            <a:ext cx="2266256" cy="3053827"/>
          </a:xfrm>
          <a:prstGeom prst="roundRect">
            <a:avLst>
              <a:gd name="adj" fmla="val 2887"/>
            </a:avLst>
          </a:prstGeom>
          <a:solidFill>
            <a:srgbClr val="3980EF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600"/>
              </a:spcBef>
              <a:buNone/>
            </a:pPr>
            <a:r>
              <a:rPr lang="en-US" sz="1600" b="1" err="1">
                <a:solidFill>
                  <a:schemeClr val="bg1"/>
                </a:solidFill>
                <a:effectLst/>
              </a:rPr>
              <a:t>Formazione</a:t>
            </a:r>
            <a:r>
              <a:rPr lang="en-US" sz="1600" b="1">
                <a:solidFill>
                  <a:schemeClr val="bg1"/>
                </a:solidFill>
                <a:effectLst/>
              </a:rPr>
              <a:t> </a:t>
            </a:r>
            <a:r>
              <a:rPr lang="en-US" sz="1600" b="1" err="1">
                <a:solidFill>
                  <a:schemeClr val="bg1"/>
                </a:solidFill>
                <a:effectLst/>
              </a:rPr>
              <a:t>innovativa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2517C7B-AAAD-94EB-F44A-E278EE60F2BD}"/>
              </a:ext>
            </a:extLst>
          </p:cNvPr>
          <p:cNvSpPr/>
          <p:nvPr/>
        </p:nvSpPr>
        <p:spPr>
          <a:xfrm>
            <a:off x="445844" y="2519380"/>
            <a:ext cx="2266256" cy="2235109"/>
          </a:xfrm>
          <a:prstGeom prst="roundRect">
            <a:avLst>
              <a:gd name="adj" fmla="val 2887"/>
            </a:avLst>
          </a:prstGeom>
          <a:solidFill>
            <a:srgbClr val="BF496B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None/>
            </a:pPr>
            <a:r>
              <a:rPr lang="en-US" sz="1600" b="1" dirty="0" err="1">
                <a:solidFill>
                  <a:schemeClr val="bg1"/>
                </a:solidFill>
                <a:effectLst/>
              </a:rPr>
              <a:t>Prevenzione</a:t>
            </a:r>
            <a:r>
              <a:rPr lang="en-US" sz="1600" b="1" dirty="0">
                <a:solidFill>
                  <a:schemeClr val="bg1"/>
                </a:solidFill>
                <a:effectLst/>
              </a:rPr>
              <a:t> </a:t>
            </a:r>
          </a:p>
          <a:p>
            <a:pPr algn="ctr">
              <a:buNone/>
            </a:pPr>
            <a:r>
              <a:rPr lang="en-US" sz="1600" b="1" dirty="0">
                <a:solidFill>
                  <a:schemeClr val="bg1"/>
                </a:solidFill>
                <a:effectLst/>
              </a:rPr>
              <a:t>continua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9941F7B7-A33B-A42B-9E60-84EF4BBCCBC0}"/>
              </a:ext>
            </a:extLst>
          </p:cNvPr>
          <p:cNvSpPr/>
          <p:nvPr/>
        </p:nvSpPr>
        <p:spPr>
          <a:xfrm>
            <a:off x="2762603" y="1794083"/>
            <a:ext cx="2266256" cy="2952554"/>
          </a:xfrm>
          <a:prstGeom prst="roundRect">
            <a:avLst>
              <a:gd name="adj" fmla="val 2887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None/>
            </a:pPr>
            <a:r>
              <a:rPr lang="en-US" sz="1600" b="1" err="1">
                <a:solidFill>
                  <a:schemeClr val="bg1"/>
                </a:solidFill>
                <a:effectLst/>
              </a:rPr>
              <a:t>Informazioni</a:t>
            </a:r>
            <a:r>
              <a:rPr lang="en-US" sz="1600" b="1">
                <a:solidFill>
                  <a:schemeClr val="bg1"/>
                </a:solidFill>
                <a:effectLst/>
              </a:rPr>
              <a:t> immediate</a:t>
            </a:r>
            <a:endParaRPr lang="en-US" sz="1600">
              <a:solidFill>
                <a:schemeClr val="bg1"/>
              </a:solidFill>
              <a:effectLst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58AFB50-0D1D-CDA5-B22A-4CD428CB5FA4}"/>
              </a:ext>
            </a:extLst>
          </p:cNvPr>
          <p:cNvSpPr/>
          <p:nvPr/>
        </p:nvSpPr>
        <p:spPr>
          <a:xfrm>
            <a:off x="5060958" y="1111610"/>
            <a:ext cx="2266256" cy="3594476"/>
          </a:xfrm>
          <a:prstGeom prst="roundRect">
            <a:avLst>
              <a:gd name="adj" fmla="val 2887"/>
            </a:avLst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None/>
            </a:pPr>
            <a:r>
              <a:rPr lang="en-US" sz="1600" b="1">
                <a:solidFill>
                  <a:schemeClr val="bg1"/>
                </a:solidFill>
                <a:effectLst/>
              </a:rPr>
              <a:t>Al </a:t>
            </a:r>
            <a:r>
              <a:rPr lang="en-US" sz="1600" b="1" err="1">
                <a:solidFill>
                  <a:schemeClr val="bg1"/>
                </a:solidFill>
                <a:effectLst/>
              </a:rPr>
              <a:t>centro</a:t>
            </a:r>
            <a:r>
              <a:rPr lang="en-US" sz="1600" b="1">
                <a:solidFill>
                  <a:schemeClr val="bg1"/>
                </a:solidFill>
                <a:effectLst/>
              </a:rPr>
              <a:t>, </a:t>
            </a:r>
          </a:p>
          <a:p>
            <a:pPr algn="ctr">
              <a:buNone/>
            </a:pPr>
            <a:r>
              <a:rPr lang="en-US" sz="1600" b="1">
                <a:solidFill>
                  <a:schemeClr val="bg1"/>
                </a:solidFill>
                <a:effectLst/>
              </a:rPr>
              <a:t>le </a:t>
            </a:r>
            <a:r>
              <a:rPr lang="en-US" sz="1600" b="1" err="1">
                <a:solidFill>
                  <a:schemeClr val="bg1"/>
                </a:solidFill>
                <a:effectLst/>
              </a:rPr>
              <a:t>persone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E7F926-A011-F178-2D1F-8088C3F2EC9C}"/>
              </a:ext>
            </a:extLst>
          </p:cNvPr>
          <p:cNvSpPr/>
          <p:nvPr/>
        </p:nvSpPr>
        <p:spPr>
          <a:xfrm>
            <a:off x="9719798" y="4817070"/>
            <a:ext cx="2266256" cy="1855700"/>
          </a:xfrm>
          <a:prstGeom prst="roundRect">
            <a:avLst>
              <a:gd name="adj" fmla="val 2887"/>
            </a:avLst>
          </a:prstGeom>
          <a:solidFill>
            <a:schemeClr val="accent5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None/>
            </a:pPr>
            <a:r>
              <a:rPr lang="it-IT" sz="1200">
                <a:solidFill>
                  <a:schemeClr val="bg1"/>
                </a:solidFill>
                <a:effectLst/>
                <a:latin typeface="Ericsson Hilda Light" panose="00000400000000000000" pitchFamily="2" charset="0"/>
              </a:rPr>
              <a:t>Processi automatizzati e monitoraggio continuo assicurano il rispetto delle normative e la trasparenza nella gestione della sicurezza, sia internamente che verso i partner.</a:t>
            </a:r>
            <a:endParaRPr lang="en-US" sz="1200">
              <a:solidFill>
                <a:schemeClr val="bg1"/>
              </a:solidFill>
              <a:effectLst/>
              <a:latin typeface="Ericsson Hilda Light" panose="00000400000000000000" pitchFamily="2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4E0EBD6-5B97-A350-85EB-4134A000AC61}"/>
              </a:ext>
            </a:extLst>
          </p:cNvPr>
          <p:cNvSpPr/>
          <p:nvPr/>
        </p:nvSpPr>
        <p:spPr>
          <a:xfrm>
            <a:off x="7402808" y="4817071"/>
            <a:ext cx="2266256" cy="1855700"/>
          </a:xfrm>
          <a:prstGeom prst="roundRect">
            <a:avLst>
              <a:gd name="adj" fmla="val 2887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1440" lvl="1">
              <a:spcBef>
                <a:spcPts val="600"/>
              </a:spcBef>
            </a:pPr>
            <a:r>
              <a:rPr lang="it-IT" sz="1200">
                <a:solidFill>
                  <a:schemeClr val="bg1"/>
                </a:solidFill>
                <a:latin typeface="Ericsson Hilda Light" panose="00000400000000000000" pitchFamily="2" charset="0"/>
              </a:rPr>
              <a:t>L’AI traduce e trasforma le linee guida in contenuti accessibili e coinvolgenti, anche in formato video. La gamification e l’integrazione con l’Assistente AI rendono la formazione più efficace e alla portata di tutti.</a:t>
            </a:r>
            <a:endParaRPr lang="en-US" sz="1200">
              <a:solidFill>
                <a:schemeClr val="bg1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7758FA1-DAD6-DA54-8E3E-6F7B61716E1E}"/>
              </a:ext>
            </a:extLst>
          </p:cNvPr>
          <p:cNvSpPr/>
          <p:nvPr/>
        </p:nvSpPr>
        <p:spPr>
          <a:xfrm>
            <a:off x="436475" y="4818820"/>
            <a:ext cx="2266256" cy="1855700"/>
          </a:xfrm>
          <a:prstGeom prst="roundRect">
            <a:avLst>
              <a:gd name="adj" fmla="val 2887"/>
            </a:avLst>
          </a:prstGeom>
          <a:solidFill>
            <a:srgbClr val="BF496B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None/>
            </a:pPr>
            <a:r>
              <a:rPr lang="it-IT" sz="1200">
                <a:solidFill>
                  <a:schemeClr val="bg1"/>
                </a:solidFill>
                <a:effectLst/>
                <a:latin typeface="Ericsson Hilda Light" panose="00000400000000000000" pitchFamily="2" charset="0"/>
              </a:rPr>
              <a:t>L’analisi dei dati e delle checklist digitali permette di individuare e gestire i rischi in tempo reale, favorendo decisioni rapide e ambienti di lavoro più sicuri. Report automatizzati aiutano a mantenere standard elevati anche tra i fornitori.</a:t>
            </a:r>
            <a:endParaRPr lang="en-US" sz="1200">
              <a:solidFill>
                <a:schemeClr val="bg1"/>
              </a:solidFill>
              <a:effectLst/>
              <a:latin typeface="Ericsson Hilda Light" panose="00000400000000000000" pitchFamily="2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AA2E656-04B5-567B-9C7C-A986C8B4E880}"/>
              </a:ext>
            </a:extLst>
          </p:cNvPr>
          <p:cNvSpPr/>
          <p:nvPr/>
        </p:nvSpPr>
        <p:spPr>
          <a:xfrm>
            <a:off x="2762602" y="4817072"/>
            <a:ext cx="2266256" cy="1855698"/>
          </a:xfrm>
          <a:prstGeom prst="roundRect">
            <a:avLst>
              <a:gd name="adj" fmla="val 2887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None/>
            </a:pPr>
            <a:r>
              <a:rPr lang="it-IT" sz="1200">
                <a:solidFill>
                  <a:schemeClr val="bg1"/>
                </a:solidFill>
                <a:effectLst/>
                <a:latin typeface="Ericsson Hilda Light" panose="00000400000000000000" pitchFamily="2" charset="0"/>
              </a:rPr>
              <a:t>Un unico portale intuitivo offre accesso rapido a tutte le informazioni e agli strumenti di sicurezza. L’intelligenza artificiale garantisce risposte tempestive e un supporto efficace, riducendo la complessità e i tempi di ricerca.</a:t>
            </a:r>
            <a:endParaRPr lang="en-US" sz="1200">
              <a:solidFill>
                <a:schemeClr val="bg1"/>
              </a:solidFill>
              <a:effectLst/>
              <a:latin typeface="Ericsson Hilda Light" panose="00000400000000000000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CC7C34C-FD94-BD48-C86F-DEE966F44E85}"/>
              </a:ext>
            </a:extLst>
          </p:cNvPr>
          <p:cNvSpPr/>
          <p:nvPr/>
        </p:nvSpPr>
        <p:spPr>
          <a:xfrm>
            <a:off x="5085818" y="4817071"/>
            <a:ext cx="2266256" cy="1855698"/>
          </a:xfrm>
          <a:prstGeom prst="roundRect">
            <a:avLst>
              <a:gd name="adj" fmla="val 2887"/>
            </a:avLst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91440" lvl="1">
              <a:spcBef>
                <a:spcPts val="600"/>
              </a:spcBef>
            </a:pPr>
            <a:r>
              <a:rPr lang="it-IT" sz="1200">
                <a:solidFill>
                  <a:schemeClr val="bg1"/>
                </a:solidFill>
                <a:effectLst/>
                <a:latin typeface="Ericsson Hilda Light" panose="00000400000000000000" pitchFamily="2" charset="0"/>
              </a:rPr>
              <a:t>Soluzioni digitali progettate sulle reali esigenze di chi lavora, grazie alla collaborazione tra esperti, lavoratori e partner. Il lavoratore è sempre protagonista, con strumenti flessibili e scalabili.</a:t>
            </a:r>
            <a:endParaRPr lang="en-US" sz="1000">
              <a:solidFill>
                <a:schemeClr val="bg1"/>
              </a:solidFill>
              <a:latin typeface="Ericsson Hilda Light" panose="00000400000000000000" pitchFamily="2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07B5D6B-56FC-88ED-8E34-8900379AEDDC}"/>
              </a:ext>
            </a:extLst>
          </p:cNvPr>
          <p:cNvGrpSpPr/>
          <p:nvPr/>
        </p:nvGrpSpPr>
        <p:grpSpPr>
          <a:xfrm>
            <a:off x="2824170" y="1574122"/>
            <a:ext cx="6839542" cy="3182192"/>
            <a:chOff x="2951703" y="1522207"/>
            <a:chExt cx="6477694" cy="2952554"/>
          </a:xfrm>
        </p:grpSpPr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14FF051-D34B-DDF9-1480-9B1D2C22A5D4}"/>
                </a:ext>
              </a:extLst>
            </p:cNvPr>
            <p:cNvSpPr/>
            <p:nvPr/>
          </p:nvSpPr>
          <p:spPr>
            <a:xfrm>
              <a:off x="3094892" y="1688125"/>
              <a:ext cx="6334505" cy="2786636"/>
            </a:xfrm>
            <a:custGeom>
              <a:avLst/>
              <a:gdLst>
                <a:gd name="connsiteX0" fmla="*/ 3234631 w 6469263"/>
                <a:gd name="connsiteY0" fmla="*/ 0 h 2828866"/>
                <a:gd name="connsiteX1" fmla="*/ 6456756 w 6469263"/>
                <a:gd name="connsiteY1" fmla="*/ 2677423 h 2828866"/>
                <a:gd name="connsiteX2" fmla="*/ 6469263 w 6469263"/>
                <a:gd name="connsiteY2" fmla="*/ 2828866 h 2828866"/>
                <a:gd name="connsiteX3" fmla="*/ 0 w 6469263"/>
                <a:gd name="connsiteY3" fmla="*/ 2828866 h 2828866"/>
                <a:gd name="connsiteX4" fmla="*/ 12506 w 6469263"/>
                <a:gd name="connsiteY4" fmla="*/ 2677423 h 2828866"/>
                <a:gd name="connsiteX5" fmla="*/ 3234631 w 6469263"/>
                <a:gd name="connsiteY5" fmla="*/ 0 h 282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69263" h="2828866">
                  <a:moveTo>
                    <a:pt x="3234631" y="0"/>
                  </a:moveTo>
                  <a:cubicBezTo>
                    <a:pt x="4911599" y="0"/>
                    <a:pt x="6290895" y="1173555"/>
                    <a:pt x="6456756" y="2677423"/>
                  </a:cubicBezTo>
                  <a:lnTo>
                    <a:pt x="6469263" y="2828866"/>
                  </a:lnTo>
                  <a:lnTo>
                    <a:pt x="0" y="2828866"/>
                  </a:lnTo>
                  <a:lnTo>
                    <a:pt x="12506" y="2677423"/>
                  </a:lnTo>
                  <a:cubicBezTo>
                    <a:pt x="178367" y="1173555"/>
                    <a:pt x="1557663" y="0"/>
                    <a:pt x="3234631" y="0"/>
                  </a:cubicBezTo>
                  <a:close/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2273BD17-2458-2F35-0F2E-B0F7250DC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951703" y="1522207"/>
              <a:ext cx="6477694" cy="2952554"/>
            </a:xfrm>
            <a:prstGeom prst="rect">
              <a:avLst/>
            </a:prstGeom>
          </p:spPr>
        </p:pic>
      </p:grpSp>
      <p:pic>
        <p:nvPicPr>
          <p:cNvPr id="2" name="image">
            <a:extLst>
              <a:ext uri="{FF2B5EF4-FFF2-40B4-BE49-F238E27FC236}">
                <a16:creationId xmlns:a16="http://schemas.microsoft.com/office/drawing/2014/main" id="{39493835-3501-5658-DBCE-D03786DDA5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075" y="383701"/>
            <a:ext cx="628566" cy="6403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7A4702-0440-92A9-0779-7A48362E5C92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10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0403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75485157-77A3-26D1-16C6-3E34FF6543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">
            <a:extLst>
              <a:ext uri="{FF2B5EF4-FFF2-40B4-BE49-F238E27FC236}">
                <a16:creationId xmlns:a16="http://schemas.microsoft.com/office/drawing/2014/main" id="{A38B49CB-55A8-925A-C893-A9343A860B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4177" y="2259975"/>
            <a:ext cx="2120480" cy="21214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2149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elefono Ericsson DBC 3212 Standard - Ricondizionato - Bianco">
            <a:extLst>
              <a:ext uri="{FF2B5EF4-FFF2-40B4-BE49-F238E27FC236}">
                <a16:creationId xmlns:a16="http://schemas.microsoft.com/office/drawing/2014/main" id="{9544AFCA-0A60-C8DA-69DC-6DC4FEB94D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325" y="5822897"/>
            <a:ext cx="624055" cy="624055"/>
          </a:xfrm>
          <a:prstGeom prst="rect">
            <a:avLst/>
          </a:prstGeom>
          <a:noFill/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85CE6FE4-D4B7-44CB-9472-C67E1E6AA487}"/>
              </a:ext>
            </a:extLst>
          </p:cNvPr>
          <p:cNvSpPr/>
          <p:nvPr/>
        </p:nvSpPr>
        <p:spPr bwMode="auto">
          <a:xfrm>
            <a:off x="2806621" y="5669321"/>
            <a:ext cx="1365669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lang="it-IT" sz="1200">
                <a:latin typeface="+mn-lt"/>
              </a:rPr>
              <a:t>High-tech </a:t>
            </a:r>
            <a:br>
              <a:rPr lang="it-IT" sz="1200">
                <a:latin typeface="+mn-lt"/>
              </a:rPr>
            </a:br>
            <a:r>
              <a:rPr lang="it-IT" sz="1200">
                <a:latin typeface="+mn-lt"/>
              </a:rPr>
              <a:t>Defence devices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br>
              <a:rPr lang="it-IT" sz="1200">
                <a:latin typeface="+mn-lt"/>
              </a:rPr>
            </a:br>
            <a:r>
              <a:rPr lang="it-IT" sz="1200">
                <a:latin typeface="+mn-lt"/>
              </a:rPr>
              <a:t>1940</a:t>
            </a:r>
            <a:endParaRPr kumimoji="0" lang="it-IT" sz="120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B5908-B3F5-4E56-83B6-87B770AE1589}"/>
              </a:ext>
            </a:extLst>
          </p:cNvPr>
          <p:cNvSpPr/>
          <p:nvPr/>
        </p:nvSpPr>
        <p:spPr bwMode="auto">
          <a:xfrm>
            <a:off x="4207531" y="5669321"/>
            <a:ext cx="1127273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lang="it-IT" sz="1200" dirty="0">
                <a:latin typeface="+mn-lt"/>
              </a:rPr>
              <a:t>National </a:t>
            </a:r>
            <a:r>
              <a:rPr lang="it-IT" sz="1200" dirty="0" err="1">
                <a:latin typeface="+mn-lt"/>
              </a:rPr>
              <a:t>Teleselection</a:t>
            </a:r>
            <a:br>
              <a:rPr lang="it-IT" sz="1200" dirty="0">
                <a:latin typeface="+mn-lt"/>
              </a:rPr>
            </a:br>
            <a:endParaRPr lang="it-IT" sz="1200" dirty="0">
              <a:latin typeface="+mn-lt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kumimoji="0" lang="it-IT" sz="1200" u="none" strike="noStrike" cap="none" normalizeH="0" baseline="0" dirty="0">
                <a:ln>
                  <a:noFill/>
                </a:ln>
                <a:effectLst/>
                <a:latin typeface="+mn-lt"/>
              </a:rPr>
              <a:t>1950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DB6979F-1C4A-4B28-8444-60A0A8999784}"/>
              </a:ext>
            </a:extLst>
          </p:cNvPr>
          <p:cNvSpPr/>
          <p:nvPr/>
        </p:nvSpPr>
        <p:spPr bwMode="auto">
          <a:xfrm>
            <a:off x="5370045" y="5669321"/>
            <a:ext cx="1906710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lang="it-IT" sz="1200">
                <a:latin typeface="+mn-lt"/>
              </a:rPr>
              <a:t>First Ericsson R&amp;D Center in Italy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br>
              <a:rPr lang="it-IT" sz="1200">
                <a:latin typeface="+mn-lt"/>
              </a:rPr>
            </a:br>
            <a:r>
              <a:rPr lang="it-IT" sz="1200">
                <a:latin typeface="+mn-lt"/>
              </a:rPr>
              <a:t>197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EB42BBE-04C6-4EEA-8D74-7B1E1FE193D3}"/>
              </a:ext>
            </a:extLst>
          </p:cNvPr>
          <p:cNvSpPr/>
          <p:nvPr/>
        </p:nvSpPr>
        <p:spPr bwMode="auto">
          <a:xfrm>
            <a:off x="7311996" y="5669321"/>
            <a:ext cx="1906710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</a:pPr>
            <a:r>
              <a:rPr lang="en-US" altLang="it-IT" sz="1200">
                <a:latin typeface="+mn-lt"/>
              </a:rPr>
              <a:t>GSM starts at </a:t>
            </a:r>
            <a:br>
              <a:rPr lang="en-US" altLang="it-IT" sz="1200">
                <a:latin typeface="+mn-lt"/>
              </a:rPr>
            </a:br>
            <a:r>
              <a:rPr lang="en-US" altLang="it-IT" sz="1200">
                <a:latin typeface="+mn-lt"/>
              </a:rPr>
              <a:t>Italy World Cup</a:t>
            </a:r>
          </a:p>
          <a:p>
            <a:pPr>
              <a:spcBef>
                <a:spcPct val="50000"/>
              </a:spcBef>
            </a:pPr>
            <a:endParaRPr lang="en-US" altLang="it-IT" sz="1200">
              <a:latin typeface="+mn-lt"/>
            </a:endParaRP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it-IT" sz="1200">
                <a:latin typeface="+mn-lt"/>
              </a:rPr>
              <a:t>199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392FBD-C2B3-4ADD-AD16-98633AAA8907}"/>
              </a:ext>
            </a:extLst>
          </p:cNvPr>
          <p:cNvSpPr/>
          <p:nvPr/>
        </p:nvSpPr>
        <p:spPr bwMode="auto">
          <a:xfrm>
            <a:off x="10692506" y="5669321"/>
            <a:ext cx="1403320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it-IT" sz="1200">
                <a:latin typeface="+mn-lt"/>
              </a:rPr>
              <a:t>First Public 5G</a:t>
            </a:r>
            <a:br>
              <a:rPr lang="it-IT" sz="1200">
                <a:latin typeface="+mn-lt"/>
              </a:rPr>
            </a:br>
            <a:r>
              <a:rPr lang="it-IT" sz="1200">
                <a:latin typeface="+mn-lt"/>
              </a:rPr>
              <a:t>Sperimentation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it-IT" sz="1200">
              <a:latin typeface="+mn-lt"/>
            </a:endParaRP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it-IT" sz="1200">
                <a:latin typeface="+mn-lt"/>
              </a:rPr>
              <a:t>201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CAB0A2C-6133-418F-89AA-D4E576B0C50E}"/>
              </a:ext>
            </a:extLst>
          </p:cNvPr>
          <p:cNvSpPr/>
          <p:nvPr/>
        </p:nvSpPr>
        <p:spPr bwMode="auto">
          <a:xfrm>
            <a:off x="19258" y="5409503"/>
            <a:ext cx="2473569" cy="129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endParaRPr kumimoji="0" lang="it-IT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41" name="Content Placeholder 8">
            <a:extLst>
              <a:ext uri="{FF2B5EF4-FFF2-40B4-BE49-F238E27FC236}">
                <a16:creationId xmlns:a16="http://schemas.microsoft.com/office/drawing/2014/main" id="{91D4DE1D-534C-43FD-8CA7-A3F2155A7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5" y="5822897"/>
            <a:ext cx="582427" cy="61284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5F17EF5-3F1B-4E35-BD81-2140509029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4127" y1="73256" x2="34127" y2="73256"/>
                        <a14:foregroundMark x1="30026" y1="69913" x2="30026" y2="69913"/>
                        <a14:foregroundMark x1="30026" y1="69913" x2="48810" y2="77326"/>
                        <a14:foregroundMark x1="48810" y1="77326" x2="66799" y2="72384"/>
                        <a14:foregroundMark x1="66799" y1="72384" x2="68386" y2="70785"/>
                        <a14:foregroundMark x1="51852" y1="34012" x2="32275" y2="38953"/>
                        <a14:foregroundMark x1="32275" y1="38953" x2="37037" y2="60756"/>
                        <a14:foregroundMark x1="37037" y1="60756" x2="55688" y2="64099"/>
                        <a14:foregroundMark x1="55688" y1="64099" x2="63095" y2="42587"/>
                        <a14:foregroundMark x1="63095" y1="42587" x2="51455" y2="360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63" y="5822897"/>
            <a:ext cx="712791" cy="63184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8117401-3735-4F20-B8C5-7F6DD3C942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895" y="5830689"/>
            <a:ext cx="682189" cy="62405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3" name="Picture 22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DA36CD6B-A676-47E7-8F12-6CEB54AD1EA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28"/>
          <a:stretch/>
        </p:blipFill>
        <p:spPr>
          <a:xfrm>
            <a:off x="8184119" y="1254754"/>
            <a:ext cx="4001832" cy="4298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0F3D0B06-269C-4BFB-A20A-59A6093C0279}"/>
              </a:ext>
            </a:extLst>
          </p:cNvPr>
          <p:cNvSpPr txBox="1">
            <a:spLocks/>
          </p:cNvSpPr>
          <p:nvPr/>
        </p:nvSpPr>
        <p:spPr bwMode="auto">
          <a:xfrm>
            <a:off x="548640" y="475200"/>
            <a:ext cx="828358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br>
              <a:rPr lang="it-IT" sz="3200" dirty="0"/>
            </a:br>
            <a:r>
              <a:rPr lang="it-IT" sz="1800" dirty="0"/>
              <a:t>Una storia consolidata</a:t>
            </a:r>
          </a:p>
        </p:txBody>
      </p:sp>
      <p:pic>
        <p:nvPicPr>
          <p:cNvPr id="2" name="image" descr="{&quot;templafy&quot;:{&quot;binding&quot;:&quot;Form.LogoInsertion.Pplogoname&quot;,&quot;inheritDimensions&quot;:&quot;inheritNone&quot;,&quot;height&quot;:&quot;1.34 cm&quot;,&quot;type&quot;:&quot;image&quot;}}" title="Form.LogoInsertion.Pplogoname">
            <a:extLst>
              <a:ext uri="{FF2B5EF4-FFF2-40B4-BE49-F238E27FC236}">
                <a16:creationId xmlns:a16="http://schemas.microsoft.com/office/drawing/2014/main" id="{8D84310A-3837-D90B-B6D4-434CE8812F0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9841" y="429421"/>
            <a:ext cx="482229" cy="48243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6D3E978-7485-34C7-335E-8330E7FE49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30" y="1262431"/>
            <a:ext cx="8116884" cy="4298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7131CB2B-C2BF-7540-E480-DC3C3A11B92E}"/>
              </a:ext>
            </a:extLst>
          </p:cNvPr>
          <p:cNvSpPr/>
          <p:nvPr/>
        </p:nvSpPr>
        <p:spPr bwMode="auto">
          <a:xfrm>
            <a:off x="9253947" y="5669321"/>
            <a:ext cx="1403320" cy="103618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it-IT" sz="1200">
                <a:latin typeface="+mn-lt"/>
              </a:rPr>
              <a:t>Ericsson acquisition of  Marconi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br>
              <a:rPr lang="it-IT" sz="1200">
                <a:latin typeface="+mn-lt"/>
              </a:rPr>
            </a:br>
            <a:r>
              <a:rPr lang="it-IT" sz="1200">
                <a:latin typeface="+mn-lt"/>
              </a:rPr>
              <a:t>200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DF3588-81D4-F6A0-8461-5D977135572F}"/>
              </a:ext>
            </a:extLst>
          </p:cNvPr>
          <p:cNvSpPr txBox="1"/>
          <p:nvPr/>
        </p:nvSpPr>
        <p:spPr bwMode="auto">
          <a:xfrm>
            <a:off x="8184118" y="5277136"/>
            <a:ext cx="3972553" cy="23083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President of the Italian Republic Mr. Sergio Mattarella at the Ericsson Studio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27E8102C-A191-6842-289F-CAEC4991D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365760"/>
            <a:ext cx="10674675" cy="10810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it-IT" sz="4000" dirty="0"/>
              <a:t>Ericsson per l’Italia</a:t>
            </a:r>
            <a:endParaRPr lang="it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1781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2B2A2-F2B6-F273-B555-4FAEA64F5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FF5CF93F-6AA0-ABBE-1971-1F795C467AF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642CC15-6FA5-6436-6D6D-C1C55D305463}"/>
              </a:ext>
            </a:extLst>
          </p:cNvPr>
          <p:cNvSpPr/>
          <p:nvPr/>
        </p:nvSpPr>
        <p:spPr>
          <a:xfrm>
            <a:off x="497297" y="4832351"/>
            <a:ext cx="11396196" cy="1903461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">
                <a:solidFill>
                  <a:schemeClr val="bg1"/>
                </a:solidFill>
              </a:rPr>
              <a:t>DIGITAL EHS: </a:t>
            </a:r>
            <a:r>
              <a:rPr lang="it-IT">
                <a:solidFill>
                  <a:schemeClr val="bg1"/>
                </a:solidFill>
              </a:rPr>
              <a:t>Casi d’uso realizzati</a:t>
            </a:r>
            <a:endParaRPr lang="it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33FAC7-BEB8-D931-D0AC-9BAE55097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365760"/>
            <a:ext cx="10674675" cy="10810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it" dirty="0">
                <a:solidFill>
                  <a:schemeClr val="bg1"/>
                </a:solidFill>
                <a:latin typeface="+mn-lt"/>
              </a:rPr>
              <a:t>Digital EH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1823D5-91C7-BA4B-9545-F94DB3C3BF6D}"/>
              </a:ext>
            </a:extLst>
          </p:cNvPr>
          <p:cNvSpPr txBox="1">
            <a:spLocks/>
          </p:cNvSpPr>
          <p:nvPr/>
        </p:nvSpPr>
        <p:spPr bwMode="auto">
          <a:xfrm>
            <a:off x="681504" y="1714018"/>
            <a:ext cx="2679192" cy="73152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endParaRPr kumimoji="0" lang="en-US" sz="1800" b="1" i="0" u="none" strike="noStrike" kern="1000" cap="none" spc="-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3069C1-5582-A6AF-B972-70C173A5F771}"/>
              </a:ext>
            </a:extLst>
          </p:cNvPr>
          <p:cNvSpPr txBox="1">
            <a:spLocks/>
          </p:cNvSpPr>
          <p:nvPr/>
        </p:nvSpPr>
        <p:spPr bwMode="auto">
          <a:xfrm>
            <a:off x="6208870" y="1708024"/>
            <a:ext cx="2679192" cy="73152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endParaRPr kumimoji="0" lang="en-US" sz="1800" b="1" i="0" u="none" strike="noStrike" kern="1000" cap="none" spc="-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/>
              <a:ea typeface="+mn-ea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7F6A09-83E3-9A62-E6D8-D9D6A7E19BF2}"/>
              </a:ext>
            </a:extLst>
          </p:cNvPr>
          <p:cNvSpPr txBox="1">
            <a:spLocks/>
          </p:cNvSpPr>
          <p:nvPr/>
        </p:nvSpPr>
        <p:spPr bwMode="auto">
          <a:xfrm>
            <a:off x="3435819" y="1714892"/>
            <a:ext cx="2679192" cy="73152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endParaRPr kumimoji="0" lang="en-US" sz="1800" b="1" i="0" u="none" strike="noStrike" kern="1000" cap="none" spc="-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/>
              <a:ea typeface="+mn-ea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5E5432-4B1A-FB43-9EF2-0FF8865BA4BC}"/>
              </a:ext>
            </a:extLst>
          </p:cNvPr>
          <p:cNvSpPr txBox="1">
            <a:spLocks/>
          </p:cNvSpPr>
          <p:nvPr/>
        </p:nvSpPr>
        <p:spPr bwMode="auto">
          <a:xfrm>
            <a:off x="8977990" y="1711459"/>
            <a:ext cx="2679192" cy="73152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endParaRPr kumimoji="0" lang="en-US" sz="1800" b="1" i="0" u="none" strike="noStrike" kern="1000" cap="none" spc="-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Graphic 19">
            <a:extLst>
              <a:ext uri="{FF2B5EF4-FFF2-40B4-BE49-F238E27FC236}">
                <a16:creationId xmlns:a16="http://schemas.microsoft.com/office/drawing/2014/main" id="{BF4BFA0D-BDD1-EDB9-D2A7-0F393D4C0D8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761553" y="1675624"/>
            <a:ext cx="829469" cy="82946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284E45A-812E-05FF-53DE-B324F3AF70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90134" y="1697507"/>
            <a:ext cx="807586" cy="80758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C08C93C-BCAB-FE3B-D52B-53E53B6B3F6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>
            <a:fillRect/>
          </a:stretch>
        </p:blipFill>
        <p:spPr>
          <a:xfrm>
            <a:off x="3460440" y="1617901"/>
            <a:ext cx="890250" cy="89025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0AC3E664-4D59-4C6D-BFD6-474501469C8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p:blipFill>
        <p:spPr>
          <a:xfrm>
            <a:off x="8945679" y="1654620"/>
            <a:ext cx="862124" cy="86212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BFE3EBD1-FD56-7D0F-F663-18B0CE553A6B}"/>
              </a:ext>
            </a:extLst>
          </p:cNvPr>
          <p:cNvGrpSpPr/>
          <p:nvPr/>
        </p:nvGrpSpPr>
        <p:grpSpPr>
          <a:xfrm>
            <a:off x="725472" y="5281409"/>
            <a:ext cx="2682156" cy="662923"/>
            <a:chOff x="5780504" y="1389529"/>
            <a:chExt cx="2332555" cy="102073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10587B8-8B3B-AB58-2002-3F10737AC95F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8AA8CE6-7F69-A3E1-0172-4CF58820D71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401638" y="1413969"/>
              <a:ext cx="166419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Portale informativo sulla Sicurezza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F83E4CA-B6A1-A99A-17D4-249E60BB5C9D}"/>
              </a:ext>
            </a:extLst>
          </p:cNvPr>
          <p:cNvGrpSpPr/>
          <p:nvPr/>
        </p:nvGrpSpPr>
        <p:grpSpPr>
          <a:xfrm>
            <a:off x="6275076" y="5260645"/>
            <a:ext cx="2743200" cy="662923"/>
            <a:chOff x="5833591" y="3775816"/>
            <a:chExt cx="2385642" cy="102073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F100D11-0FAD-FF7E-662C-779C51359F4C}"/>
                </a:ext>
              </a:extLst>
            </p:cNvPr>
            <p:cNvSpPr/>
            <p:nvPr/>
          </p:nvSpPr>
          <p:spPr bwMode="auto">
            <a:xfrm>
              <a:off x="5833591" y="3775816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B749E95-7FFA-C11E-DBA5-125347B9C8D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427963" y="3775817"/>
              <a:ext cx="179127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Reportistica EHS centralizzata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B1845CC-6990-D216-5F0E-AD10B3B44CE3}"/>
              </a:ext>
            </a:extLst>
          </p:cNvPr>
          <p:cNvGrpSpPr/>
          <p:nvPr/>
        </p:nvGrpSpPr>
        <p:grpSpPr>
          <a:xfrm>
            <a:off x="721086" y="5976119"/>
            <a:ext cx="2682156" cy="665328"/>
            <a:chOff x="5780504" y="2576325"/>
            <a:chExt cx="2332555" cy="1024433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552DFA-9BFA-E1EE-63A1-814C77E63015}"/>
                </a:ext>
              </a:extLst>
            </p:cNvPr>
            <p:cNvSpPr/>
            <p:nvPr/>
          </p:nvSpPr>
          <p:spPr bwMode="auto">
            <a:xfrm>
              <a:off x="5780504" y="2580028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85A5FC1-9EB2-6590-B2B8-3BFECF731B5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48554" y="2576325"/>
              <a:ext cx="179127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GenAI EHS Agent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322C72C-1300-472A-E540-855B9B27B425}"/>
              </a:ext>
            </a:extLst>
          </p:cNvPr>
          <p:cNvGrpSpPr/>
          <p:nvPr/>
        </p:nvGrpSpPr>
        <p:grpSpPr>
          <a:xfrm>
            <a:off x="6256232" y="5975539"/>
            <a:ext cx="2743199" cy="664965"/>
            <a:chOff x="5856457" y="4988428"/>
            <a:chExt cx="2385641" cy="102073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8F96FCA-8773-F09E-B203-01936E842299}"/>
                </a:ext>
              </a:extLst>
            </p:cNvPr>
            <p:cNvSpPr/>
            <p:nvPr/>
          </p:nvSpPr>
          <p:spPr bwMode="auto">
            <a:xfrm>
              <a:off x="5856457" y="4988428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905E5FE-4A16-1109-F0DE-B92A0A714C3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47498" y="4988430"/>
              <a:ext cx="1694600" cy="92310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Traduzione di documenti tramite AI</a:t>
              </a:r>
              <a:endParaRPr kumimoji="0" lang="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</p:txBody>
        </p:sp>
      </p:grpSp>
      <p:pic>
        <p:nvPicPr>
          <p:cNvPr id="37" name="Graphic 36">
            <a:extLst>
              <a:ext uri="{FF2B5EF4-FFF2-40B4-BE49-F238E27FC236}">
                <a16:creationId xmlns:a16="http://schemas.microsoft.com/office/drawing/2014/main" id="{AF2D21B4-066D-3477-7BD8-348A9222123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>
            <a:fillRect/>
          </a:stretch>
        </p:blipFill>
        <p:spPr>
          <a:xfrm>
            <a:off x="6401948" y="5906192"/>
            <a:ext cx="780537" cy="78053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53D6028C-DC03-9C30-1581-C32BDE7F636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55283" y="5151536"/>
            <a:ext cx="864798" cy="86479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DD1AE0B-D664-A495-48F8-7EACA31C406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6633" y="5903882"/>
            <a:ext cx="807586" cy="807586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0A779571-20C1-942C-FBEE-11951513AFF5}"/>
              </a:ext>
            </a:extLst>
          </p:cNvPr>
          <p:cNvGrpSpPr/>
          <p:nvPr/>
        </p:nvGrpSpPr>
        <p:grpSpPr>
          <a:xfrm>
            <a:off x="3485981" y="5281409"/>
            <a:ext cx="2695576" cy="662923"/>
            <a:chOff x="5780504" y="1389529"/>
            <a:chExt cx="2344225" cy="102073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1C594D6-AF4B-9AB9-3343-24FB0DDCBB7D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4DBBBE3-8CCB-9691-CE3C-1FD91A57A14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33459" y="1389530"/>
              <a:ext cx="179127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lang="it" sz="1400" kern="0" dirty="0">
                  <a:solidFill>
                    <a:srgbClr val="FFFFFF"/>
                  </a:solidFill>
                  <a:latin typeface="Ericsson Hilda Light"/>
                </a:rPr>
                <a:t>Checklist digitale per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</a:br>
              <a:r>
                <a:rPr kumimoji="0" lang="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la sicurezza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E9693B6-4E25-9ED4-96F7-192BDEF89202}"/>
              </a:ext>
            </a:extLst>
          </p:cNvPr>
          <p:cNvGrpSpPr/>
          <p:nvPr/>
        </p:nvGrpSpPr>
        <p:grpSpPr>
          <a:xfrm>
            <a:off x="3489568" y="5976419"/>
            <a:ext cx="2686052" cy="662923"/>
            <a:chOff x="5780504" y="1389529"/>
            <a:chExt cx="2335942" cy="102073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A202FFE-7573-3772-1B96-CE01CD1A051A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90A55BD-C4D5-F7A1-899E-F9FCE2B8EDF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25176" y="1389530"/>
              <a:ext cx="179127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Assistente AI per la sicurezza</a:t>
              </a:r>
              <a:endParaRPr kumimoji="0" lang="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33153D4-F190-A28A-CA6C-4C8F99A40189}"/>
              </a:ext>
            </a:extLst>
          </p:cNvPr>
          <p:cNvGrpSpPr/>
          <p:nvPr/>
        </p:nvGrpSpPr>
        <p:grpSpPr>
          <a:xfrm>
            <a:off x="9019658" y="5275025"/>
            <a:ext cx="2682157" cy="662923"/>
            <a:chOff x="5780504" y="1389529"/>
            <a:chExt cx="2332555" cy="102073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A4E87C4-872A-5625-B012-4C9DB8EE4FE9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C3DCF0D-7DAF-0494-A5B1-239E7578F01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25774" y="1389530"/>
              <a:ext cx="179127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Corsi di formazione mediante AI Video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0C6BBB-2266-1B06-3125-CAB621A923BD}"/>
              </a:ext>
            </a:extLst>
          </p:cNvPr>
          <p:cNvGrpSpPr/>
          <p:nvPr/>
        </p:nvGrpSpPr>
        <p:grpSpPr>
          <a:xfrm>
            <a:off x="9018495" y="5974041"/>
            <a:ext cx="2682157" cy="664965"/>
            <a:chOff x="5780504" y="1389529"/>
            <a:chExt cx="2332555" cy="1020730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75DD705-A4C0-C20C-D04D-543BD55DF09B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solidFill>
              <a:srgbClr val="976CF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20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4A0EE824-4E50-2C64-42F6-45935E63469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67192" y="1389530"/>
              <a:ext cx="1791270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Quiz &amp;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Giochi</a:t>
              </a:r>
            </a:p>
          </p:txBody>
        </p: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C4AA4AF4-2E31-EFBA-73D2-5DECF07C4E4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612052" y="5902832"/>
            <a:ext cx="807586" cy="807586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245E102B-3D65-6943-4744-AC511ABD762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050495" y="5915935"/>
            <a:ext cx="819877" cy="819877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FEED914A-D06E-E518-4164-DCAD5161104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>
            <a:fillRect/>
          </a:stretch>
        </p:blipFill>
        <p:spPr>
          <a:xfrm>
            <a:off x="9061462" y="5221521"/>
            <a:ext cx="793703" cy="7937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88E791-4EE2-5E19-F6C1-22199D017D8C}"/>
              </a:ext>
            </a:extLst>
          </p:cNvPr>
          <p:cNvSpPr txBox="1">
            <a:spLocks/>
          </p:cNvSpPr>
          <p:nvPr/>
        </p:nvSpPr>
        <p:spPr bwMode="auto">
          <a:xfrm>
            <a:off x="1400696" y="1665646"/>
            <a:ext cx="2040049" cy="6615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600" b="1" i="0" u="none" strike="noStrike" kern="10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Arial" panose="020B0604020202020204" pitchFamily="34" charset="0"/>
              </a:rPr>
              <a:t>DIGITALIZZAZIO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564DB3-8247-4B68-0B74-1F3B531694AF}"/>
              </a:ext>
            </a:extLst>
          </p:cNvPr>
          <p:cNvSpPr txBox="1">
            <a:spLocks/>
          </p:cNvSpPr>
          <p:nvPr/>
        </p:nvSpPr>
        <p:spPr bwMode="auto">
          <a:xfrm>
            <a:off x="4079888" y="1869668"/>
            <a:ext cx="2059744" cy="6615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600" b="1" i="0" u="none" strike="noStrike" kern="10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Arial"/>
              </a:rPr>
              <a:t>AUTOMAZIO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8DE3A4-AFEE-FF4E-FD19-9406526D0D25}"/>
              </a:ext>
            </a:extLst>
          </p:cNvPr>
          <p:cNvSpPr txBox="1">
            <a:spLocks/>
          </p:cNvSpPr>
          <p:nvPr/>
        </p:nvSpPr>
        <p:spPr bwMode="auto">
          <a:xfrm>
            <a:off x="6701212" y="1908499"/>
            <a:ext cx="2059744" cy="6615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defRPr/>
            </a:pPr>
            <a:r>
              <a:rPr kumimoji="0" lang="it" sz="1600" b="1" i="0" u="none" strike="noStrike" kern="10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Arial"/>
              </a:rPr>
              <a:t>INTELLIGENZA ARTIFICIA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760589-2EF0-5D8E-2F16-C111742D0B97}"/>
              </a:ext>
            </a:extLst>
          </p:cNvPr>
          <p:cNvSpPr txBox="1">
            <a:spLocks/>
          </p:cNvSpPr>
          <p:nvPr/>
        </p:nvSpPr>
        <p:spPr bwMode="auto">
          <a:xfrm>
            <a:off x="9519755" y="1883476"/>
            <a:ext cx="2059744" cy="6615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600" b="1" i="0" u="none" strike="noStrike" kern="10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Arial" panose="020B0604020202020204" pitchFamily="34" charset="0"/>
              </a:rPr>
              <a:t>VISUALIZZAZION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FA99DA20-9C2F-9DB4-ABD3-C8020C15CE60}"/>
              </a:ext>
            </a:extLst>
          </p:cNvPr>
          <p:cNvSpPr txBox="1">
            <a:spLocks/>
          </p:cNvSpPr>
          <p:nvPr/>
        </p:nvSpPr>
        <p:spPr>
          <a:xfrm>
            <a:off x="741881" y="2515933"/>
            <a:ext cx="2597945" cy="251475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bg1"/>
                </a:solidFill>
              </a:rPr>
              <a:t>Abbiamo digitalizzato la checklist di sicurezza, eliminando completamente l'uso della carta dal processo tradizionale. </a:t>
            </a:r>
          </a:p>
          <a:p>
            <a:pPr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bg1"/>
                </a:solidFill>
              </a:rPr>
              <a:t>La digitalizzazione ci ha permesso di raccogliere i dati in modo rapido e sicuro, di effettuare analisi a livello di singolo item della check-list e di pervenire quindi ad analisi ed azioni istantane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E4B53AE-5C11-6A4E-78A9-61E1E6BF1176}"/>
              </a:ext>
            </a:extLst>
          </p:cNvPr>
          <p:cNvSpPr txBox="1">
            <a:spLocks/>
          </p:cNvSpPr>
          <p:nvPr/>
        </p:nvSpPr>
        <p:spPr>
          <a:xfrm>
            <a:off x="6220655" y="2712828"/>
            <a:ext cx="4933444" cy="2514756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1400">
              <a:solidFill>
                <a:schemeClr val="bg1"/>
              </a:solidFill>
            </a:endParaRPr>
          </a:p>
          <a:p>
            <a:endParaRPr lang="en-US" sz="1400">
              <a:solidFill>
                <a:schemeClr val="bg1"/>
              </a:solidFill>
              <a:highlight>
                <a:srgbClr val="00FF00"/>
              </a:highlight>
            </a:endParaRPr>
          </a:p>
          <a:p>
            <a:endParaRPr lang="en-US" sz="1400">
              <a:solidFill>
                <a:schemeClr val="bg1"/>
              </a:solidFill>
              <a:highlight>
                <a:srgbClr val="00FF00"/>
              </a:highlight>
            </a:endParaRPr>
          </a:p>
          <a:p>
            <a:endParaRPr lang="en-US" sz="140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41D39A8-526A-0D1F-354D-41D439BCE1C9}"/>
              </a:ext>
            </a:extLst>
          </p:cNvPr>
          <p:cNvSpPr txBox="1">
            <a:spLocks/>
          </p:cNvSpPr>
          <p:nvPr/>
        </p:nvSpPr>
        <p:spPr>
          <a:xfrm>
            <a:off x="6199272" y="2464725"/>
            <a:ext cx="2679192" cy="2463704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>
                <a:solidFill>
                  <a:schemeClr val="bg1"/>
                </a:solidFill>
              </a:rPr>
              <a:t>L</a:t>
            </a:r>
            <a:r>
              <a:rPr lang="it" sz="1200">
                <a:solidFill>
                  <a:schemeClr val="bg1"/>
                </a:solidFill>
              </a:rPr>
              <a:t>’AI è già implementata nei tools </a:t>
            </a:r>
            <a:r>
              <a:rPr lang="it" sz="1200" b="1">
                <a:solidFill>
                  <a:schemeClr val="bg1"/>
                </a:solidFill>
              </a:rPr>
              <a:t>Visual Intelligence</a:t>
            </a:r>
            <a:r>
              <a:rPr lang="it" sz="1200">
                <a:solidFill>
                  <a:schemeClr val="bg1"/>
                </a:solidFill>
              </a:rPr>
              <a:t> e </a:t>
            </a:r>
            <a:r>
              <a:rPr lang="it" sz="1200" b="1">
                <a:solidFill>
                  <a:schemeClr val="bg1"/>
                </a:solidFill>
              </a:rPr>
              <a:t>Site Intelligence</a:t>
            </a:r>
            <a:r>
              <a:rPr lang="it" sz="1200">
                <a:solidFill>
                  <a:schemeClr val="bg1"/>
                </a:solidFill>
              </a:rPr>
              <a:t>, che permettono il riconoscimento di immagini  e riproduzione sul modello digitale del sito (digital-twin)</a:t>
            </a:r>
            <a:endParaRPr lang="it-IT" sz="1200">
              <a:solidFill>
                <a:schemeClr val="bg1"/>
              </a:solidFill>
            </a:endParaRPr>
          </a:p>
          <a:p>
            <a:r>
              <a:rPr lang="it-IT" sz="1200">
                <a:solidFill>
                  <a:schemeClr val="bg1"/>
                </a:solidFill>
              </a:rPr>
              <a:t>Stiamo integrando funzionalità quali il riconoscimento dei rischi dal testo scritto, il recupero automatico di informazioni, lo sviluppo di programmi di formazione e servizi di traduzione</a:t>
            </a:r>
            <a:endParaRPr lang="en-US" sz="120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C0E3209-C6A7-A446-7C77-5AC631CF3C3E}"/>
              </a:ext>
            </a:extLst>
          </p:cNvPr>
          <p:cNvSpPr txBox="1">
            <a:spLocks/>
          </p:cNvSpPr>
          <p:nvPr/>
        </p:nvSpPr>
        <p:spPr>
          <a:xfrm>
            <a:off x="557679" y="1188097"/>
            <a:ext cx="10948351" cy="387239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</a:rPr>
              <a:t>   </a:t>
            </a:r>
            <a:endParaRPr lang="en-US" sz="160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2BB5B385-08B0-4B8A-CD4E-29DE942673DD}"/>
              </a:ext>
            </a:extLst>
          </p:cNvPr>
          <p:cNvSpPr txBox="1">
            <a:spLocks/>
          </p:cNvSpPr>
          <p:nvPr/>
        </p:nvSpPr>
        <p:spPr>
          <a:xfrm>
            <a:off x="3467386" y="2524427"/>
            <a:ext cx="2628613" cy="2205145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L'automazione semplifica i processi sostituendo e potenziando le attività manuali basate su regole predefinite</a:t>
            </a:r>
          </a:p>
          <a:p>
            <a:endParaRPr lang="it-IT" sz="1200">
              <a:solidFill>
                <a:schemeClr val="bg1"/>
              </a:solidFill>
            </a:endParaRPr>
          </a:p>
          <a:p>
            <a:r>
              <a:rPr lang="it-IT" sz="1200">
                <a:solidFill>
                  <a:schemeClr val="bg1"/>
                </a:solidFill>
              </a:rPr>
              <a:t>L'automazione consente di eseguire attività che prima erano complesse e richiedevano molto tempo, anche con alto rischio di errore</a:t>
            </a:r>
            <a:endParaRPr lang="en-US" sz="120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5C1B40A4-3288-D409-8A66-3DFFDD587381}"/>
              </a:ext>
            </a:extLst>
          </p:cNvPr>
          <p:cNvSpPr txBox="1">
            <a:spLocks/>
          </p:cNvSpPr>
          <p:nvPr/>
        </p:nvSpPr>
        <p:spPr>
          <a:xfrm>
            <a:off x="8971307" y="2502587"/>
            <a:ext cx="2675134" cy="2247953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L’ultima fase consiste nel visualizzare i dati raccolti per identificare rapidamente eventuali non conformità e prendere decisioni basate su dati oggettivi</a:t>
            </a:r>
          </a:p>
          <a:p>
            <a:endParaRPr lang="it-IT" sz="1200">
              <a:solidFill>
                <a:schemeClr val="bg1"/>
              </a:solidFill>
            </a:endParaRPr>
          </a:p>
          <a:p>
            <a:r>
              <a:rPr lang="it-IT" sz="1200">
                <a:solidFill>
                  <a:schemeClr val="bg1"/>
                </a:solidFill>
              </a:rPr>
              <a:t>La reportistica e la visualizzazione sono disponbili in tempo reale e configurabili in base alle necessità</a:t>
            </a:r>
            <a:endParaRPr lang="en-US" sz="120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2CADD16-2D19-4165-3E9C-ABDD534BCB3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>
            <a:fillRect/>
          </a:stretch>
        </p:blipFill>
        <p:spPr>
          <a:xfrm>
            <a:off x="3564400" y="5165353"/>
            <a:ext cx="911989" cy="911989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8F37934A-C851-0EE5-2B85-8185FE19F16C}"/>
              </a:ext>
            </a:extLst>
          </p:cNvPr>
          <p:cNvGrpSpPr/>
          <p:nvPr/>
        </p:nvGrpSpPr>
        <p:grpSpPr>
          <a:xfrm>
            <a:off x="704042" y="5093064"/>
            <a:ext cx="1095375" cy="1095375"/>
            <a:chOff x="696091" y="4909218"/>
            <a:chExt cx="1095375" cy="1095375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B626CB5C-068D-76F1-49BB-8C60C2535FF8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/>
            <a:stretch>
              <a:fillRect/>
            </a:stretch>
          </p:blipFill>
          <p:spPr>
            <a:xfrm>
              <a:off x="696091" y="4909218"/>
              <a:ext cx="1095375" cy="1095375"/>
            </a:xfrm>
            <a:prstGeom prst="rect">
              <a:avLst/>
            </a:prstGeom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BA5BF214-4E3C-3E0F-6439-489BCFA5185D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/>
            <a:stretch>
              <a:fillRect/>
            </a:stretch>
          </p:blipFill>
          <p:spPr>
            <a:xfrm>
              <a:off x="954187" y="5159340"/>
              <a:ext cx="572404" cy="572404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0F35086C-72DC-8486-D5F3-8D762EFE5A7B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2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FA4BA4C8-DFF9-9F76-270B-71E48112DF2B}"/>
              </a:ext>
            </a:extLst>
          </p:cNvPr>
          <p:cNvSpPr txBox="1">
            <a:spLocks/>
          </p:cNvSpPr>
          <p:nvPr/>
        </p:nvSpPr>
        <p:spPr>
          <a:xfrm>
            <a:off x="-11605" y="1097280"/>
            <a:ext cx="12192000" cy="489026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bIns="45720" anchor="ctr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181818"/>
              </a:buClr>
              <a:buNone/>
              <a:defRPr/>
            </a:pPr>
            <a:r>
              <a:rPr lang="it" sz="1400" b="1">
                <a:solidFill>
                  <a:srgbClr val="002060"/>
                </a:solidFill>
              </a:rPr>
              <a:t>E' stato creato un ‘Centro di Innovazione‘ per esplorare l'uso di strumenti digitali intelligenti </a:t>
            </a:r>
            <a:r>
              <a:rPr lang="it-IT" sz="1400" b="1">
                <a:solidFill>
                  <a:srgbClr val="002060"/>
                </a:solidFill>
              </a:rPr>
              <a:t>che semplifichino e ottimizzino i processi di sicurezza</a:t>
            </a:r>
            <a:endParaRPr lang="it" sz="1400" b="1">
              <a:solidFill>
                <a:srgbClr val="002060"/>
              </a:solidFill>
            </a:endParaRPr>
          </a:p>
        </p:txBody>
      </p:sp>
      <p:pic>
        <p:nvPicPr>
          <p:cNvPr id="20" name="image">
            <a:extLst>
              <a:ext uri="{FF2B5EF4-FFF2-40B4-BE49-F238E27FC236}">
                <a16:creationId xmlns:a16="http://schemas.microsoft.com/office/drawing/2014/main" id="{094680A0-8835-96FE-FE20-6D266ED0B1F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386" y="391916"/>
            <a:ext cx="580932" cy="581186"/>
          </a:xfrm>
          <a:prstGeom prst="rect">
            <a:avLst/>
          </a:prstGeom>
        </p:spPr>
      </p:pic>
      <p:pic>
        <p:nvPicPr>
          <p:cNvPr id="21" name="image">
            <a:extLst>
              <a:ext uri="{FF2B5EF4-FFF2-40B4-BE49-F238E27FC236}">
                <a16:creationId xmlns:a16="http://schemas.microsoft.com/office/drawing/2014/main" id="{36693351-0CEE-0889-2F85-E6DF5D242F7B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1265" y="368212"/>
            <a:ext cx="482228" cy="4824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4984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303F2-EBA0-100A-8BAB-E6F8E6609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F916371-C477-AC02-CD04-89D7642CEB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2672" y="1732913"/>
            <a:ext cx="1654302" cy="3531048"/>
          </a:xfrm>
          <a:prstGeom prst="rect">
            <a:avLst/>
          </a:prstGeom>
        </p:spPr>
      </p:pic>
      <p:pic>
        <p:nvPicPr>
          <p:cNvPr id="56" name="Picture 55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922C0E70-D602-6424-95EF-494F9EBADC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2759"/>
            <a:ext cx="12191999" cy="6883518"/>
          </a:xfrm>
          <a:custGeom>
            <a:avLst/>
            <a:gdLst>
              <a:gd name="connsiteX0" fmla="*/ 4817287 w 12191999"/>
              <a:gd name="connsiteY0" fmla="*/ 1758431 h 6883518"/>
              <a:gd name="connsiteX1" fmla="*/ 4542671 w 12191999"/>
              <a:gd name="connsiteY1" fmla="*/ 2033047 h 6883518"/>
              <a:gd name="connsiteX2" fmla="*/ 4542671 w 12191999"/>
              <a:gd name="connsiteY2" fmla="*/ 4981090 h 6883518"/>
              <a:gd name="connsiteX3" fmla="*/ 4817287 w 12191999"/>
              <a:gd name="connsiteY3" fmla="*/ 5255706 h 6883518"/>
              <a:gd name="connsiteX4" fmla="*/ 5915719 w 12191999"/>
              <a:gd name="connsiteY4" fmla="*/ 5255706 h 6883518"/>
              <a:gd name="connsiteX5" fmla="*/ 6190335 w 12191999"/>
              <a:gd name="connsiteY5" fmla="*/ 4981090 h 6883518"/>
              <a:gd name="connsiteX6" fmla="*/ 6190335 w 12191999"/>
              <a:gd name="connsiteY6" fmla="*/ 2033047 h 6883518"/>
              <a:gd name="connsiteX7" fmla="*/ 5915719 w 12191999"/>
              <a:gd name="connsiteY7" fmla="*/ 1758431 h 6883518"/>
              <a:gd name="connsiteX8" fmla="*/ 0 w 12191999"/>
              <a:gd name="connsiteY8" fmla="*/ 0 h 6883518"/>
              <a:gd name="connsiteX9" fmla="*/ 12191999 w 12191999"/>
              <a:gd name="connsiteY9" fmla="*/ 0 h 6883518"/>
              <a:gd name="connsiteX10" fmla="*/ 12191999 w 12191999"/>
              <a:gd name="connsiteY10" fmla="*/ 6883518 h 6883518"/>
              <a:gd name="connsiteX11" fmla="*/ 0 w 12191999"/>
              <a:gd name="connsiteY11" fmla="*/ 6883518 h 6883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999" h="6883518">
                <a:moveTo>
                  <a:pt x="4817287" y="1758431"/>
                </a:moveTo>
                <a:cubicBezTo>
                  <a:pt x="4665622" y="1758431"/>
                  <a:pt x="4542671" y="1881381"/>
                  <a:pt x="4542671" y="2033047"/>
                </a:cubicBezTo>
                <a:lnTo>
                  <a:pt x="4542671" y="4981090"/>
                </a:lnTo>
                <a:cubicBezTo>
                  <a:pt x="4542671" y="5132756"/>
                  <a:pt x="4665622" y="5255706"/>
                  <a:pt x="4817287" y="5255706"/>
                </a:cubicBezTo>
                <a:lnTo>
                  <a:pt x="5915719" y="5255706"/>
                </a:lnTo>
                <a:cubicBezTo>
                  <a:pt x="6067385" y="5255706"/>
                  <a:pt x="6190335" y="5132756"/>
                  <a:pt x="6190335" y="4981090"/>
                </a:cubicBezTo>
                <a:lnTo>
                  <a:pt x="6190335" y="2033047"/>
                </a:lnTo>
                <a:cubicBezTo>
                  <a:pt x="6190335" y="1881381"/>
                  <a:pt x="6067385" y="1758431"/>
                  <a:pt x="5915719" y="1758431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83518"/>
                </a:lnTo>
                <a:lnTo>
                  <a:pt x="0" y="6883518"/>
                </a:ln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6DAC189-CD66-1055-54A6-D59E6EC76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65760"/>
            <a:ext cx="10662982" cy="78897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ortale </a:t>
            </a:r>
            <a:r>
              <a:rPr lang="en-US" dirty="0" err="1">
                <a:solidFill>
                  <a:schemeClr val="bg1"/>
                </a:solidFill>
              </a:rPr>
              <a:t>informativo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ull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icurezz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cantieri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D2B301-8B43-6EF5-E389-E9FFDA032A3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28723" y="1881358"/>
            <a:ext cx="5276055" cy="3208426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C8321557-A97E-B220-2B8B-7200F62869B8}"/>
              </a:ext>
            </a:extLst>
          </p:cNvPr>
          <p:cNvSpPr txBox="1">
            <a:spLocks/>
          </p:cNvSpPr>
          <p:nvPr/>
        </p:nvSpPr>
        <p:spPr>
          <a:xfrm>
            <a:off x="1" y="109728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-IT" sz="1400" b="1" i="0" u="none" strike="noStrike" kern="10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«EHS SharePoint» è il nostro strumento centralizzato per la gestione delle informazioni sulla sicurezza nei cantieri, accessibile a tutti i dipendenti e partners</a:t>
            </a:r>
            <a:endParaRPr kumimoji="0" lang="en-US" sz="1400" b="1" i="0" u="none" strike="noStrike" kern="10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CC8F21C-B846-7C0E-58D6-42BD9FEB2613}"/>
              </a:ext>
            </a:extLst>
          </p:cNvPr>
          <p:cNvSpPr/>
          <p:nvPr/>
        </p:nvSpPr>
        <p:spPr>
          <a:xfrm>
            <a:off x="557679" y="5324685"/>
            <a:ext cx="11396196" cy="103121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" sz="1200">
                <a:solidFill>
                  <a:schemeClr val="bg1"/>
                </a:solidFill>
              </a:rPr>
              <a:t>Risorse nel portale di informazioni sulla sicurezza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AFDEAF-9B2A-9153-86AF-D57E6F2BE843}"/>
              </a:ext>
            </a:extLst>
          </p:cNvPr>
          <p:cNvGrpSpPr/>
          <p:nvPr/>
        </p:nvGrpSpPr>
        <p:grpSpPr>
          <a:xfrm>
            <a:off x="660813" y="5635232"/>
            <a:ext cx="1828800" cy="274320"/>
            <a:chOff x="5763589" y="1389529"/>
            <a:chExt cx="2349470" cy="1020730"/>
          </a:xfrm>
          <a:solidFill>
            <a:srgbClr val="00008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19942A2-9237-C674-DD4B-9AFAF5D80492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325021E-B812-4B7E-D029-FFDDDDA3E12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763589" y="1411259"/>
              <a:ext cx="2302240" cy="925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Istruzioni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59EFC-0BB5-2382-C266-D461336E987C}"/>
              </a:ext>
            </a:extLst>
          </p:cNvPr>
          <p:cNvGrpSpPr/>
          <p:nvPr/>
        </p:nvGrpSpPr>
        <p:grpSpPr>
          <a:xfrm>
            <a:off x="4404094" y="5643366"/>
            <a:ext cx="1792880" cy="274320"/>
            <a:chOff x="5821921" y="3775816"/>
            <a:chExt cx="2352937" cy="1020730"/>
          </a:xfrm>
          <a:solidFill>
            <a:srgbClr val="00008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7240AC9-C63D-9F29-1DDA-5F1E48FD815F}"/>
                </a:ext>
              </a:extLst>
            </p:cNvPr>
            <p:cNvSpPr/>
            <p:nvPr/>
          </p:nvSpPr>
          <p:spPr bwMode="auto">
            <a:xfrm>
              <a:off x="5833591" y="3775816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EB4EB68-7833-64C2-A8F9-87B23B3169A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21921" y="3775816"/>
              <a:ext cx="2352937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Video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D63FB9-A57A-7B16-2D33-BCEFC01FB1F0}"/>
              </a:ext>
            </a:extLst>
          </p:cNvPr>
          <p:cNvGrpSpPr/>
          <p:nvPr/>
        </p:nvGrpSpPr>
        <p:grpSpPr>
          <a:xfrm>
            <a:off x="673979" y="5968036"/>
            <a:ext cx="1828800" cy="399555"/>
            <a:chOff x="5780504" y="2580028"/>
            <a:chExt cx="2332555" cy="1492118"/>
          </a:xfrm>
          <a:solidFill>
            <a:srgbClr val="000082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B321F60-B054-63A4-0AFD-5CD74497B4C5}"/>
                </a:ext>
              </a:extLst>
            </p:cNvPr>
            <p:cNvSpPr/>
            <p:nvPr/>
          </p:nvSpPr>
          <p:spPr bwMode="auto">
            <a:xfrm>
              <a:off x="5780504" y="2580028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CDC5ED8-3CF5-40A9-5EA0-37AC95BE9F1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796502" y="3149043"/>
              <a:ext cx="2255507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Newsletter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6E2E116-E66E-8C98-1152-73B44C5C7B00}"/>
              </a:ext>
            </a:extLst>
          </p:cNvPr>
          <p:cNvGrpSpPr/>
          <p:nvPr/>
        </p:nvGrpSpPr>
        <p:grpSpPr>
          <a:xfrm>
            <a:off x="4416231" y="5962217"/>
            <a:ext cx="1828800" cy="274320"/>
            <a:chOff x="5856016" y="4988428"/>
            <a:chExt cx="2386083" cy="1020730"/>
          </a:xfrm>
          <a:solidFill>
            <a:srgbClr val="00008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DC54B2E-FF2E-97EE-DBEF-8A4183E72089}"/>
                </a:ext>
              </a:extLst>
            </p:cNvPr>
            <p:cNvSpPr/>
            <p:nvPr/>
          </p:nvSpPr>
          <p:spPr bwMode="auto">
            <a:xfrm>
              <a:off x="5856457" y="4988428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BA6B4E-3D6D-130A-B5A0-11663C9D201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56016" y="4988428"/>
              <a:ext cx="2386083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lang="it" sz="1100" kern="0">
                  <a:solidFill>
                    <a:srgbClr val="FFFFFF"/>
                  </a:solidFill>
                  <a:latin typeface="Ericsson Hilda Light"/>
                </a:rPr>
                <a:t>KPI di sicurezza</a:t>
              </a:r>
              <a:endParaRPr kumimoji="0" lang="it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9CE63C-BE96-FFE4-B0C6-6179DF168994}"/>
              </a:ext>
            </a:extLst>
          </p:cNvPr>
          <p:cNvGrpSpPr/>
          <p:nvPr/>
        </p:nvGrpSpPr>
        <p:grpSpPr>
          <a:xfrm>
            <a:off x="2540725" y="5643828"/>
            <a:ext cx="1828800" cy="274320"/>
            <a:chOff x="5777979" y="1389529"/>
            <a:chExt cx="2346750" cy="1020730"/>
          </a:xfrm>
          <a:solidFill>
            <a:srgbClr val="000082"/>
          </a:solidFill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F16F7B5-729A-B5DB-6B2B-9EA6C5A2CDF1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6EA0049-A494-D465-B148-10E04A7E2E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777979" y="1389530"/>
              <a:ext cx="2346750" cy="923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lang="en-US" sz="1100" kern="0">
                <a:solidFill>
                  <a:srgbClr val="FFFFFF"/>
                </a:solidFill>
                <a:latin typeface="Ericsson Hilda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Checklist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E5C94-4955-125C-EAAE-2AE0DA9A31F2}"/>
              </a:ext>
            </a:extLst>
          </p:cNvPr>
          <p:cNvGrpSpPr/>
          <p:nvPr/>
        </p:nvGrpSpPr>
        <p:grpSpPr>
          <a:xfrm>
            <a:off x="2543629" y="5962015"/>
            <a:ext cx="1828800" cy="273023"/>
            <a:chOff x="5777385" y="1389529"/>
            <a:chExt cx="2339061" cy="1020730"/>
          </a:xfrm>
          <a:solidFill>
            <a:srgbClr val="000082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A3719C9-01CE-6BDA-DFB9-0D7D50C77F88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62B769-30D3-CCD9-E996-4576741DE13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777385" y="1389533"/>
              <a:ext cx="2339061" cy="91827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0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Assistente AI per la sicurezza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FE6347DF-9E97-0EBC-E730-0E4F1B640F94}"/>
              </a:ext>
            </a:extLst>
          </p:cNvPr>
          <p:cNvSpPr/>
          <p:nvPr/>
        </p:nvSpPr>
        <p:spPr bwMode="auto">
          <a:xfrm>
            <a:off x="6265769" y="5642718"/>
            <a:ext cx="1828800" cy="274320"/>
          </a:xfrm>
          <a:prstGeom prst="rect">
            <a:avLst/>
          </a:prstGeom>
          <a:solidFill>
            <a:srgbClr val="00008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sz="1050" err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42A536-5787-82B0-5C21-4C4E7EF3F195}"/>
              </a:ext>
            </a:extLst>
          </p:cNvPr>
          <p:cNvSpPr txBox="1">
            <a:spLocks/>
          </p:cNvSpPr>
          <p:nvPr/>
        </p:nvSpPr>
        <p:spPr bwMode="auto">
          <a:xfrm>
            <a:off x="6279188" y="5642718"/>
            <a:ext cx="1792880" cy="274320"/>
          </a:xfrm>
          <a:prstGeom prst="rect">
            <a:avLst/>
          </a:prstGeom>
          <a:solidFill>
            <a:srgbClr val="000082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Formazione</a:t>
            </a:r>
            <a:endParaRPr kumimoji="0" lang="it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9B3BBBD-D813-1B0A-6CE5-C5567A593347}"/>
              </a:ext>
            </a:extLst>
          </p:cNvPr>
          <p:cNvGrpSpPr/>
          <p:nvPr/>
        </p:nvGrpSpPr>
        <p:grpSpPr>
          <a:xfrm>
            <a:off x="6264606" y="5960718"/>
            <a:ext cx="1828800" cy="274320"/>
            <a:chOff x="5780504" y="1389529"/>
            <a:chExt cx="2332555" cy="1020730"/>
          </a:xfrm>
          <a:solidFill>
            <a:srgbClr val="000082"/>
          </a:solidFill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BF92706-724F-23C4-6144-CF00F634147B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AD3153B-4705-8DDC-8828-AA1A9EBE3C4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33592" y="1389529"/>
              <a:ext cx="2224872" cy="923103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Gestione degli account</a:t>
              </a: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1C3E2CB3-E220-B2C1-AF4C-6ABAA209539E}"/>
              </a:ext>
            </a:extLst>
          </p:cNvPr>
          <p:cNvSpPr/>
          <p:nvPr/>
        </p:nvSpPr>
        <p:spPr bwMode="auto">
          <a:xfrm>
            <a:off x="8148640" y="5647744"/>
            <a:ext cx="1828800" cy="274320"/>
          </a:xfrm>
          <a:prstGeom prst="rect">
            <a:avLst/>
          </a:prstGeom>
          <a:solidFill>
            <a:srgbClr val="00008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sz="1050" err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E105215-1BBF-0924-B805-6FEB317C57BA}"/>
              </a:ext>
            </a:extLst>
          </p:cNvPr>
          <p:cNvSpPr txBox="1">
            <a:spLocks/>
          </p:cNvSpPr>
          <p:nvPr/>
        </p:nvSpPr>
        <p:spPr bwMode="auto">
          <a:xfrm>
            <a:off x="8268997" y="5634985"/>
            <a:ext cx="1487248" cy="2743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lang="en-US" sz="1100" kern="0">
              <a:solidFill>
                <a:srgbClr val="FFFFFF"/>
              </a:solidFill>
              <a:latin typeface="Ericsson Hilda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it" sz="1100" kern="0">
                <a:solidFill>
                  <a:srgbClr val="FFFFFF"/>
                </a:solidFill>
                <a:latin typeface="Ericsson Hilda Light"/>
              </a:rPr>
              <a:t>Applicazioni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BDF1FE0-4332-28A5-6A85-84C739C71469}"/>
              </a:ext>
            </a:extLst>
          </p:cNvPr>
          <p:cNvGrpSpPr/>
          <p:nvPr/>
        </p:nvGrpSpPr>
        <p:grpSpPr>
          <a:xfrm>
            <a:off x="8147477" y="5965744"/>
            <a:ext cx="1828800" cy="274320"/>
            <a:chOff x="5780504" y="1389529"/>
            <a:chExt cx="2332555" cy="1020730"/>
          </a:xfrm>
          <a:solidFill>
            <a:srgbClr val="000082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6ABD020-51E0-9688-9781-23D52428F2EF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6D92F9D-7B1B-0109-8F07-8F59D6AE9CC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33592" y="1389529"/>
              <a:ext cx="2224872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Quiz e giochi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2E8F7794-3BA7-E483-EB97-E6F83D92B534}"/>
              </a:ext>
            </a:extLst>
          </p:cNvPr>
          <p:cNvSpPr/>
          <p:nvPr/>
        </p:nvSpPr>
        <p:spPr bwMode="auto">
          <a:xfrm>
            <a:off x="10035084" y="5646866"/>
            <a:ext cx="1828800" cy="274320"/>
          </a:xfrm>
          <a:prstGeom prst="rect">
            <a:avLst/>
          </a:prstGeom>
          <a:solidFill>
            <a:srgbClr val="00008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sz="1050" err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53DAD4E-82D0-7831-9109-92F12D3C8E6F}"/>
              </a:ext>
            </a:extLst>
          </p:cNvPr>
          <p:cNvSpPr txBox="1">
            <a:spLocks/>
          </p:cNvSpPr>
          <p:nvPr/>
        </p:nvSpPr>
        <p:spPr bwMode="auto">
          <a:xfrm>
            <a:off x="10141399" y="5651942"/>
            <a:ext cx="1563379" cy="2743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2743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lang="en-US" sz="1100" kern="0">
              <a:solidFill>
                <a:srgbClr val="FFFFFF"/>
              </a:solidFill>
              <a:latin typeface="Ericsson Hilda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it" sz="1100" kern="0">
                <a:solidFill>
                  <a:srgbClr val="FFFFFF"/>
                </a:solidFill>
                <a:latin typeface="Ericsson Hilda Light"/>
              </a:rPr>
              <a:t>Documentazione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D945136-28E2-3FF5-B116-4AD0265667FA}"/>
              </a:ext>
            </a:extLst>
          </p:cNvPr>
          <p:cNvGrpSpPr/>
          <p:nvPr/>
        </p:nvGrpSpPr>
        <p:grpSpPr>
          <a:xfrm>
            <a:off x="10033921" y="5964866"/>
            <a:ext cx="1828800" cy="274320"/>
            <a:chOff x="5780504" y="1389529"/>
            <a:chExt cx="2332555" cy="1020730"/>
          </a:xfrm>
          <a:solidFill>
            <a:srgbClr val="000082"/>
          </a:solidFill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038A68A-CC42-3A01-1F0B-5A864641601F}"/>
                </a:ext>
              </a:extLst>
            </p:cNvPr>
            <p:cNvSpPr/>
            <p:nvPr/>
          </p:nvSpPr>
          <p:spPr bwMode="auto">
            <a:xfrm>
              <a:off x="5780504" y="1389529"/>
              <a:ext cx="2332555" cy="10207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sz="1050" err="1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16A4B16-8D99-DDDC-7144-913C560B247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33592" y="1389529"/>
              <a:ext cx="2224872" cy="9231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91440" tIns="0" rIns="91440" bIns="2743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it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Hilda Light"/>
                  <a:ea typeface="+mn-ea"/>
                  <a:cs typeface="+mn-cs"/>
                </a:rPr>
                <a:t>Contatti</a:t>
              </a:r>
            </a:p>
          </p:txBody>
        </p:sp>
      </p:grp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76BDC99E-D66B-1D96-B22A-E333B4608B34}"/>
              </a:ext>
            </a:extLst>
          </p:cNvPr>
          <p:cNvSpPr txBox="1">
            <a:spLocks/>
          </p:cNvSpPr>
          <p:nvPr/>
        </p:nvSpPr>
        <p:spPr>
          <a:xfrm>
            <a:off x="410159" y="1716323"/>
            <a:ext cx="4040879" cy="2074230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it" sz="1200" dirty="0">
                <a:solidFill>
                  <a:schemeClr val="bg1"/>
                </a:solidFill>
              </a:rPr>
              <a:t>Progettato, gestito e utilizzato in linea con un approccio «human-centric»</a:t>
            </a:r>
          </a:p>
          <a:p>
            <a:pPr>
              <a:spcBef>
                <a:spcPts val="600"/>
              </a:spcBef>
            </a:pPr>
            <a:r>
              <a:rPr lang="it" sz="1200" dirty="0">
                <a:solidFill>
                  <a:schemeClr val="bg1"/>
                </a:solidFill>
              </a:rPr>
              <a:t>Il portale ospita una varietà di risorse per la sicurezza</a:t>
            </a:r>
          </a:p>
          <a:p>
            <a:pPr>
              <a:spcBef>
                <a:spcPts val="600"/>
              </a:spcBef>
            </a:pPr>
            <a:r>
              <a:rPr lang="it" sz="1200" dirty="0">
                <a:solidFill>
                  <a:schemeClr val="bg1"/>
                </a:solidFill>
              </a:rPr>
              <a:t>Disponibile su desktop, tablet e dispositivi mobili</a:t>
            </a:r>
          </a:p>
          <a:p>
            <a:pPr>
              <a:spcBef>
                <a:spcPts val="600"/>
              </a:spcBef>
            </a:pPr>
            <a:r>
              <a:rPr lang="it" sz="1200" dirty="0">
                <a:solidFill>
                  <a:schemeClr val="bg1"/>
                </a:solidFill>
              </a:rPr>
              <a:t>Interfaccia bilingue per garantire che ogni utente riceva le informazioni importanti</a:t>
            </a:r>
          </a:p>
          <a:p>
            <a:pPr>
              <a:spcBef>
                <a:spcPts val="600"/>
              </a:spcBef>
            </a:pPr>
            <a:r>
              <a:rPr lang="it" sz="1200" dirty="0">
                <a:solidFill>
                  <a:schemeClr val="bg1"/>
                </a:solidFill>
              </a:rPr>
              <a:t>E-Newsletter sulla sicurezza condivisa come pacchetto informativo all-in-one</a:t>
            </a:r>
            <a:endParaRPr lang="en-US" sz="1200" dirty="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E6664D3-4BB6-3E13-056E-9D50E937715C}"/>
              </a:ext>
            </a:extLst>
          </p:cNvPr>
          <p:cNvSpPr/>
          <p:nvPr/>
        </p:nvSpPr>
        <p:spPr bwMode="auto">
          <a:xfrm>
            <a:off x="10862803" y="816960"/>
            <a:ext cx="1317592" cy="251302"/>
          </a:xfrm>
          <a:prstGeom prst="round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000" dirty="0">
                <a:solidFill>
                  <a:srgbClr val="FFFFFF"/>
                </a:solidFill>
                <a:latin typeface="+mn-lt"/>
              </a:rPr>
              <a:t>INFORMAZIONI</a:t>
            </a:r>
            <a:endParaRPr lang="it" sz="1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6D52C4B5-201D-3B9C-B23E-5CF404A9E4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30313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9" name="image">
            <a:extLst>
              <a:ext uri="{FF2B5EF4-FFF2-40B4-BE49-F238E27FC236}">
                <a16:creationId xmlns:a16="http://schemas.microsoft.com/office/drawing/2014/main" id="{D32C38B8-0669-D445-D1C7-90271FC636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8803" y="69012"/>
            <a:ext cx="482228" cy="482439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8E74E114-C760-E63C-6B21-0D2E7D9BE7D1}"/>
              </a:ext>
            </a:extLst>
          </p:cNvPr>
          <p:cNvGrpSpPr/>
          <p:nvPr/>
        </p:nvGrpSpPr>
        <p:grpSpPr>
          <a:xfrm>
            <a:off x="814625" y="3788158"/>
            <a:ext cx="2906195" cy="1275460"/>
            <a:chOff x="663536" y="4219054"/>
            <a:chExt cx="3664875" cy="139553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CF45956B-F9DF-3E1F-A38A-D0E421863CD1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663536" y="4317522"/>
              <a:ext cx="1095375" cy="1095375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02FCF2F7-EA7B-0773-FA41-ACEF4E321AA6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p:blipFill>
          <p:spPr>
            <a:xfrm>
              <a:off x="1561068" y="4219054"/>
              <a:ext cx="1389415" cy="1389415"/>
            </a:xfrm>
            <a:prstGeom prst="rect">
              <a:avLst/>
            </a:prstGeom>
          </p:spPr>
        </p:pic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4436267-36C4-2C43-50A0-ECF3C9ECDF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529358" y="4891357"/>
              <a:ext cx="407302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97D9EAC0-3A50-96B1-08CB-B85D41A9685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94626" y="4891357"/>
              <a:ext cx="656553" cy="0"/>
            </a:xfrm>
            <a:prstGeom prst="line">
              <a:avLst/>
            </a:prstGeom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A84DED19-02F2-4E89-38F8-5F52A95DF0B0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>
              <a:fillRect/>
            </a:stretch>
          </p:blipFill>
          <p:spPr>
            <a:xfrm>
              <a:off x="2988714" y="4294897"/>
              <a:ext cx="669607" cy="669607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DACB9128-FEC5-406A-F21D-A6FF7B9EB221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p:blipFill>
          <p:spPr>
            <a:xfrm>
              <a:off x="2969999" y="4876110"/>
              <a:ext cx="669608" cy="66960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836801C3-6D27-7F86-7B69-E33C6FC2AA97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>
              <a:fillRect/>
            </a:stretch>
          </p:blipFill>
          <p:spPr>
            <a:xfrm>
              <a:off x="3545864" y="4268078"/>
              <a:ext cx="724954" cy="724954"/>
            </a:xfrm>
            <a:prstGeom prst="rect">
              <a:avLst/>
            </a:prstGeom>
          </p:spPr>
        </p:pic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37DBB328-8D88-D79B-78BD-555EFB9C6385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>
              <a:fillRect/>
            </a:stretch>
          </p:blipFill>
          <p:spPr>
            <a:xfrm>
              <a:off x="3494882" y="4781059"/>
              <a:ext cx="833529" cy="833529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C4DDE8C-B68A-B795-DC1D-596142484105}"/>
              </a:ext>
            </a:extLst>
          </p:cNvPr>
          <p:cNvSpPr txBox="1"/>
          <p:nvPr/>
        </p:nvSpPr>
        <p:spPr>
          <a:xfrm>
            <a:off x="1561068" y="6524211"/>
            <a:ext cx="5709682" cy="27529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536A9F1-606F-A695-A670-914B246CC24F}"/>
              </a:ext>
            </a:extLst>
          </p:cNvPr>
          <p:cNvSpPr/>
          <p:nvPr/>
        </p:nvSpPr>
        <p:spPr bwMode="auto">
          <a:xfrm>
            <a:off x="5300534" y="6448678"/>
            <a:ext cx="2078442" cy="314602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it" sz="1200">
                <a:solidFill>
                  <a:schemeClr val="bg1"/>
                </a:solidFill>
                <a:latin typeface="Ericsson Hilda Light" panose="00000400000000000000" pitchFamily="2" charset="0"/>
              </a:rPr>
              <a:t>700 utenti registrati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3B780D2-68D7-4184-DF12-D20D319544C1}"/>
              </a:ext>
            </a:extLst>
          </p:cNvPr>
          <p:cNvSpPr/>
          <p:nvPr/>
        </p:nvSpPr>
        <p:spPr bwMode="auto">
          <a:xfrm>
            <a:off x="2502779" y="6455542"/>
            <a:ext cx="2560571" cy="314602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it" sz="1200">
                <a:solidFill>
                  <a:schemeClr val="bg1"/>
                </a:solidFill>
                <a:latin typeface="Ericsson Hilda Light" panose="00000400000000000000" pitchFamily="2" charset="0"/>
              </a:rPr>
              <a:t>60 aziende partner registrate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B9CD65F8-7471-9A3F-ED8A-BAD161574779}"/>
              </a:ext>
            </a:extLst>
          </p:cNvPr>
          <p:cNvSpPr/>
          <p:nvPr/>
        </p:nvSpPr>
        <p:spPr bwMode="auto">
          <a:xfrm>
            <a:off x="7589387" y="6455542"/>
            <a:ext cx="2715901" cy="311349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it" sz="1200">
                <a:solidFill>
                  <a:schemeClr val="bg1"/>
                </a:solidFill>
                <a:latin typeface="Ericsson Hilda Light" panose="00000400000000000000" pitchFamily="2" charset="0"/>
              </a:rPr>
              <a:t>9.000 accessi al portale/mes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500FB8-747F-B000-8981-D6B2B30E8B4F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3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22410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FA7AC-1E7F-7495-11C3-1246C50CD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03E014-6A3B-D298-D7D0-5871A3FAD5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5808" y="2403031"/>
            <a:ext cx="1757634" cy="3562538"/>
          </a:xfrm>
          <a:prstGeom prst="rect">
            <a:avLst/>
          </a:prstGeom>
        </p:spPr>
      </p:pic>
      <p:pic>
        <p:nvPicPr>
          <p:cNvPr id="40" name="Picture 39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69DD23B0-4F11-AB7A-F4A0-9624CC174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5942428 w 12192000"/>
              <a:gd name="connsiteY0" fmla="*/ 2432066 h 6858000"/>
              <a:gd name="connsiteX1" fmla="*/ 5713406 w 12192000"/>
              <a:gd name="connsiteY1" fmla="*/ 2661089 h 6858000"/>
              <a:gd name="connsiteX2" fmla="*/ 5713406 w 12192000"/>
              <a:gd name="connsiteY2" fmla="*/ 5709913 h 6858000"/>
              <a:gd name="connsiteX3" fmla="*/ 5942428 w 12192000"/>
              <a:gd name="connsiteY3" fmla="*/ 5938936 h 6858000"/>
              <a:gd name="connsiteX4" fmla="*/ 7182106 w 12192000"/>
              <a:gd name="connsiteY4" fmla="*/ 5938936 h 6858000"/>
              <a:gd name="connsiteX5" fmla="*/ 7411129 w 12192000"/>
              <a:gd name="connsiteY5" fmla="*/ 5709913 h 6858000"/>
              <a:gd name="connsiteX6" fmla="*/ 7411129 w 12192000"/>
              <a:gd name="connsiteY6" fmla="*/ 2661089 h 6858000"/>
              <a:gd name="connsiteX7" fmla="*/ 7182106 w 12192000"/>
              <a:gd name="connsiteY7" fmla="*/ 2432066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942428" y="2432066"/>
                </a:moveTo>
                <a:cubicBezTo>
                  <a:pt x="5815942" y="2432066"/>
                  <a:pt x="5713406" y="2534603"/>
                  <a:pt x="5713406" y="2661089"/>
                </a:cubicBezTo>
                <a:lnTo>
                  <a:pt x="5713406" y="5709913"/>
                </a:lnTo>
                <a:cubicBezTo>
                  <a:pt x="5713406" y="5836399"/>
                  <a:pt x="5815942" y="5938936"/>
                  <a:pt x="5942428" y="5938936"/>
                </a:cubicBezTo>
                <a:lnTo>
                  <a:pt x="7182106" y="5938936"/>
                </a:lnTo>
                <a:cubicBezTo>
                  <a:pt x="7308592" y="5938936"/>
                  <a:pt x="7411129" y="5836399"/>
                  <a:pt x="7411129" y="5709913"/>
                </a:cubicBezTo>
                <a:lnTo>
                  <a:pt x="7411129" y="2661089"/>
                </a:lnTo>
                <a:cubicBezTo>
                  <a:pt x="7411129" y="2534603"/>
                  <a:pt x="7308592" y="2432066"/>
                  <a:pt x="7182106" y="243206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9F5EEF6-D220-2C74-BE1C-17126F364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65760"/>
            <a:ext cx="10662982" cy="651067"/>
          </a:xfrm>
        </p:spPr>
        <p:txBody>
          <a:bodyPr/>
          <a:lstStyle/>
          <a:p>
            <a:r>
              <a:rPr lang="it" dirty="0">
                <a:solidFill>
                  <a:schemeClr val="bg1"/>
                </a:solidFill>
              </a:rPr>
              <a:t>Checklist digitale per la Sicurezza nei cantieri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84B58F8-E356-EAAB-6EEE-F7BFEB3ACE5E}"/>
              </a:ext>
            </a:extLst>
          </p:cNvPr>
          <p:cNvSpPr txBox="1">
            <a:spLocks/>
          </p:cNvSpPr>
          <p:nvPr/>
        </p:nvSpPr>
        <p:spPr>
          <a:xfrm>
            <a:off x="146112" y="1647649"/>
            <a:ext cx="5554350" cy="4477102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" sz="1400" b="1" dirty="0">
                <a:solidFill>
                  <a:schemeClr val="bg1"/>
                </a:solidFill>
              </a:rPr>
              <a:t>Checklist di sicurezza digitalizzata, </a:t>
            </a:r>
            <a:r>
              <a:rPr lang="it" sz="1400" dirty="0">
                <a:solidFill>
                  <a:schemeClr val="bg1"/>
                </a:solidFill>
              </a:rPr>
              <a:t>compilata direttamente su desktop, tablet e dispositivi mobili</a:t>
            </a:r>
          </a:p>
          <a:p>
            <a:r>
              <a:rPr lang="it" sz="1400" b="1" dirty="0">
                <a:solidFill>
                  <a:schemeClr val="bg1"/>
                </a:solidFill>
              </a:rPr>
              <a:t>Evidenze</a:t>
            </a:r>
            <a:r>
              <a:rPr lang="it" sz="1400" dirty="0">
                <a:solidFill>
                  <a:schemeClr val="bg1"/>
                </a:solidFill>
              </a:rPr>
              <a:t> (foto, certificati) caricate da qualsiasi dispositivo mobile</a:t>
            </a:r>
          </a:p>
          <a:p>
            <a:r>
              <a:rPr lang="it" sz="1400" b="1" dirty="0">
                <a:solidFill>
                  <a:schemeClr val="bg1"/>
                </a:solidFill>
              </a:rPr>
              <a:t>Notifiche in tempo reale </a:t>
            </a:r>
            <a:r>
              <a:rPr lang="it" sz="1400" dirty="0">
                <a:solidFill>
                  <a:schemeClr val="bg1"/>
                </a:solidFill>
              </a:rPr>
              <a:t>al personale addetto alla sicurezza</a:t>
            </a:r>
          </a:p>
          <a:p>
            <a:pPr lvl="1"/>
            <a:r>
              <a:rPr lang="it" sz="1400" dirty="0">
                <a:solidFill>
                  <a:schemeClr val="bg1"/>
                </a:solidFill>
              </a:rPr>
              <a:t>Completamento della Checklist</a:t>
            </a:r>
          </a:p>
          <a:p>
            <a:pPr lvl="1"/>
            <a:r>
              <a:rPr lang="it-IT" sz="1400" dirty="0">
                <a:solidFill>
                  <a:schemeClr val="bg1"/>
                </a:solidFill>
              </a:rPr>
              <a:t>Rapporto sulle ‘condizioni non sicure’</a:t>
            </a:r>
            <a:endParaRPr lang="it" sz="1400" dirty="0">
              <a:solidFill>
                <a:schemeClr val="bg1"/>
              </a:solidFill>
            </a:endParaRPr>
          </a:p>
          <a:p>
            <a:r>
              <a:rPr lang="it" sz="1400" b="1" dirty="0">
                <a:solidFill>
                  <a:schemeClr val="bg1"/>
                </a:solidFill>
              </a:rPr>
              <a:t>Modello PDF compilato automaticamente </a:t>
            </a:r>
            <a:r>
              <a:rPr lang="it" sz="1400" dirty="0">
                <a:solidFill>
                  <a:schemeClr val="bg1"/>
                </a:solidFill>
              </a:rPr>
              <a:t>utilizzando i dati forniti in fase di compilazione, memorizzato in database dedicati e inviato via e-mail al preposto.</a:t>
            </a:r>
          </a:p>
          <a:p>
            <a:r>
              <a:rPr lang="it" sz="1400" b="1" dirty="0">
                <a:solidFill>
                  <a:schemeClr val="bg1"/>
                </a:solidFill>
              </a:rPr>
              <a:t>Processo interamente svolto senza uso di carta </a:t>
            </a:r>
            <a:r>
              <a:rPr lang="it" sz="1400" dirty="0">
                <a:solidFill>
                  <a:schemeClr val="bg1"/>
                </a:solidFill>
              </a:rPr>
              <a:t>per salvaguardare l'ambiente</a:t>
            </a:r>
          </a:p>
          <a:p>
            <a:r>
              <a:rPr lang="it" sz="1400" dirty="0">
                <a:solidFill>
                  <a:schemeClr val="bg1"/>
                </a:solidFill>
              </a:rPr>
              <a:t>Tutti i dati della Checklist sono memorizzati nello SharePoint per ulteriori analisi e report, classificati per Impresa, progetto, attività, etc.</a:t>
            </a:r>
          </a:p>
          <a:p>
            <a:r>
              <a:rPr lang="it" sz="1400" dirty="0">
                <a:solidFill>
                  <a:schemeClr val="bg1"/>
                </a:solidFill>
              </a:rPr>
              <a:t>Le misure di prevenzione possono essere adottate più rapidamente in quanto non vi è alcun ritardo nello scambio delle informazioni</a:t>
            </a:r>
          </a:p>
          <a:p>
            <a:r>
              <a:rPr lang="it" sz="1400" b="1" dirty="0">
                <a:solidFill>
                  <a:schemeClr val="bg1"/>
                </a:solidFill>
                <a:hlinkClick r:id="rId7" action="ppaction://hlinksldjump"/>
              </a:rPr>
              <a:t>Stop Work Authority </a:t>
            </a:r>
            <a:r>
              <a:rPr lang="it" sz="1400" dirty="0">
                <a:solidFill>
                  <a:schemeClr val="bg1"/>
                </a:solidFill>
              </a:rPr>
              <a:t>attivato automaticamente per le ‘condizioni non sicure’ segnalate</a:t>
            </a:r>
          </a:p>
          <a:p>
            <a:endParaRPr lang="en-US" sz="1400" dirty="0">
              <a:solidFill>
                <a:schemeClr val="bg1"/>
              </a:solidFill>
              <a:highlight>
                <a:srgbClr val="00FF00"/>
              </a:highlight>
            </a:endParaRPr>
          </a:p>
          <a:p>
            <a:endParaRPr lang="en-US" sz="1400" dirty="0">
              <a:solidFill>
                <a:schemeClr val="bg1"/>
              </a:solidFill>
              <a:highlight>
                <a:srgbClr val="FFFFFF"/>
              </a:highlight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3AA491D-2733-F8CF-1D58-D6D4A4BE9BF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>
            <a:off x="7685964" y="3715466"/>
            <a:ext cx="783552" cy="783552"/>
          </a:xfrm>
          <a:prstGeom prst="rect">
            <a:avLst/>
          </a:prstGeom>
        </p:spPr>
      </p:pic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CFD2D7D0-2652-2FA3-BE14-A161AAA10663}"/>
              </a:ext>
            </a:extLst>
          </p:cNvPr>
          <p:cNvSpPr txBox="1">
            <a:spLocks/>
          </p:cNvSpPr>
          <p:nvPr/>
        </p:nvSpPr>
        <p:spPr>
          <a:xfrm>
            <a:off x="1" y="109728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1" i="0" u="none" strike="noStrike" kern="1000" cap="none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         Checklist di sicurezza digitalizzata ed automatizzata, senza carta e per uno scambio di informazioni in tempo reale, per le attività nei cantieri</a:t>
            </a:r>
          </a:p>
        </p:txBody>
      </p:sp>
      <p:pic>
        <p:nvPicPr>
          <p:cNvPr id="5" name="Picture 4" descr="Uno screenshot di un computer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856DE3D4-1625-E6CF-9340-BA2E82A5AD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171" y="5055089"/>
            <a:ext cx="2288656" cy="1457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D57D28E-3989-48F7-CD2E-30B68A1F38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77042" y="1732609"/>
            <a:ext cx="2248913" cy="13756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8DD54C5-BB7D-817E-AD3C-C92653005D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57171" y="3380588"/>
            <a:ext cx="2288656" cy="14570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0089B7F-9503-5DFA-9AD5-1C45BC9D0723}"/>
              </a:ext>
            </a:extLst>
          </p:cNvPr>
          <p:cNvSpPr txBox="1"/>
          <p:nvPr/>
        </p:nvSpPr>
        <p:spPr>
          <a:xfrm>
            <a:off x="8327049" y="1889035"/>
            <a:ext cx="1216742" cy="56310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1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Checklist digitale memorizzata nel database centra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6AAC0C-7527-B5B9-656D-EE38AF6A1E65}"/>
              </a:ext>
            </a:extLst>
          </p:cNvPr>
          <p:cNvSpPr txBox="1"/>
          <p:nvPr/>
        </p:nvSpPr>
        <p:spPr>
          <a:xfrm>
            <a:off x="8355108" y="3330995"/>
            <a:ext cx="1216742" cy="43327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lang="en-US" sz="1100" kern="1000" spc="-30">
                <a:solidFill>
                  <a:schemeClr val="bg1"/>
                </a:solidFill>
                <a:latin typeface="Ericsson Hilda"/>
              </a:rPr>
              <a:t>Checklist in </a:t>
            </a:r>
            <a:r>
              <a:rPr lang="en-US" sz="1100" kern="1000" spc="-30" err="1">
                <a:solidFill>
                  <a:schemeClr val="bg1"/>
                </a:solidFill>
                <a:latin typeface="Ericsson Hilda"/>
              </a:rPr>
              <a:t>formato</a:t>
            </a:r>
            <a:r>
              <a:rPr lang="en-US" sz="1100" kern="1000" spc="-30">
                <a:solidFill>
                  <a:schemeClr val="bg1"/>
                </a:solidFill>
                <a:latin typeface="Ericsson Hilda"/>
              </a:rPr>
              <a:t> PDF </a:t>
            </a:r>
            <a:r>
              <a:rPr lang="en-US" sz="1100" kern="1000" spc="-30" err="1">
                <a:solidFill>
                  <a:schemeClr val="bg1"/>
                </a:solidFill>
                <a:latin typeface="Ericsson Hilda"/>
              </a:rPr>
              <a:t>compilato</a:t>
            </a:r>
            <a:r>
              <a:rPr lang="en-US" sz="1100" kern="1000" spc="-30">
                <a:solidFill>
                  <a:schemeClr val="bg1"/>
                </a:solidFill>
                <a:latin typeface="Ericsson Hilda"/>
              </a:rPr>
              <a:t> </a:t>
            </a:r>
            <a:r>
              <a:rPr lang="en-US" sz="1100" kern="1000" spc="-30" err="1">
                <a:solidFill>
                  <a:schemeClr val="bg1"/>
                </a:solidFill>
                <a:latin typeface="Ericsson Hilda"/>
              </a:rPr>
              <a:t>automaticamente</a:t>
            </a:r>
            <a:r>
              <a:rPr lang="en-US" sz="1100" kern="1000" spc="-30">
                <a:solidFill>
                  <a:schemeClr val="bg1"/>
                </a:solidFill>
                <a:latin typeface="Ericsson Hilda"/>
              </a:rPr>
              <a:t> </a:t>
            </a:r>
            <a:endParaRPr kumimoji="0" lang="en-US" sz="1100" b="0" i="0" u="none" strike="noStrike" kern="1000" cap="none" spc="-3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D73642-1F04-F645-725E-44156FC82324}"/>
              </a:ext>
            </a:extLst>
          </p:cNvPr>
          <p:cNvSpPr txBox="1"/>
          <p:nvPr/>
        </p:nvSpPr>
        <p:spPr>
          <a:xfrm>
            <a:off x="8355108" y="5194099"/>
            <a:ext cx="1216742" cy="72773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lang="it" sz="1100" kern="1000" spc="-30">
                <a:solidFill>
                  <a:schemeClr val="bg1"/>
                </a:solidFill>
                <a:latin typeface="Ericsson Hilda"/>
              </a:rPr>
              <a:t>Notifica via Email/Teams della Checklist generata</a:t>
            </a:r>
            <a:endParaRPr kumimoji="0" lang="en-US" sz="1100" b="0" i="0" u="none" strike="noStrike" kern="1000" cap="none" spc="-3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CF7A26F-497E-6650-05CA-B924F8F41A5A}"/>
              </a:ext>
            </a:extLst>
          </p:cNvPr>
          <p:cNvCxnSpPr>
            <a:cxnSpLocks/>
          </p:cNvCxnSpPr>
          <p:nvPr/>
        </p:nvCxnSpPr>
        <p:spPr bwMode="auto">
          <a:xfrm flipV="1">
            <a:off x="8050144" y="2624922"/>
            <a:ext cx="1526897" cy="1286080"/>
          </a:xfrm>
          <a:prstGeom prst="bentConnector3">
            <a:avLst>
              <a:gd name="adj1" fmla="val 848"/>
            </a:avLst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9EFC7C0-18E6-674B-49CF-BEE211E7C94A}"/>
              </a:ext>
            </a:extLst>
          </p:cNvPr>
          <p:cNvCxnSpPr>
            <a:cxnSpLocks/>
            <a:endCxn id="12" idx="1"/>
          </p:cNvCxnSpPr>
          <p:nvPr/>
        </p:nvCxnSpPr>
        <p:spPr bwMode="auto">
          <a:xfrm>
            <a:off x="8335236" y="4098392"/>
            <a:ext cx="1221935" cy="107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EA121C1F-B248-583B-50C4-478B70BD7828}"/>
              </a:ext>
            </a:extLst>
          </p:cNvPr>
          <p:cNvCxnSpPr>
            <a:cxnSpLocks/>
          </p:cNvCxnSpPr>
          <p:nvPr/>
        </p:nvCxnSpPr>
        <p:spPr bwMode="auto">
          <a:xfrm>
            <a:off x="8050144" y="4486217"/>
            <a:ext cx="1507026" cy="1357426"/>
          </a:xfrm>
          <a:prstGeom prst="bentConnector3">
            <a:avLst>
              <a:gd name="adj1" fmla="val -651"/>
            </a:avLst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F39F120-36EA-325E-AA7F-DCFBD1005ED1}"/>
              </a:ext>
            </a:extLst>
          </p:cNvPr>
          <p:cNvCxnSpPr>
            <a:cxnSpLocks/>
          </p:cNvCxnSpPr>
          <p:nvPr/>
        </p:nvCxnSpPr>
        <p:spPr bwMode="auto">
          <a:xfrm>
            <a:off x="7433442" y="4135239"/>
            <a:ext cx="373464" cy="0"/>
          </a:xfrm>
          <a:prstGeom prst="line">
            <a:avLst/>
          </a:prstGeom>
          <a:ln>
            <a:headEnd type="none" w="med" len="med"/>
            <a:tailEnd type="non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E8EA905-7464-0798-A6E9-4BCB373CCD67}"/>
              </a:ext>
            </a:extLst>
          </p:cNvPr>
          <p:cNvSpPr txBox="1"/>
          <p:nvPr/>
        </p:nvSpPr>
        <p:spPr>
          <a:xfrm>
            <a:off x="7869849" y="3307074"/>
            <a:ext cx="914400" cy="914400"/>
          </a:xfrm>
          <a:prstGeom prst="rect">
            <a:avLst/>
          </a:prstGeom>
        </p:spPr>
        <p:txBody>
          <a:bodyPr vert="horz" wrap="non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kumimoji="0" lang="en-US" sz="2000" b="0" i="0" u="none" strike="noStrike" kern="1000" cap="none" spc="-3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8D5F4E-592D-415B-CAA6-46D69330AC6D}"/>
              </a:ext>
            </a:extLst>
          </p:cNvPr>
          <p:cNvSpPr txBox="1"/>
          <p:nvPr/>
        </p:nvSpPr>
        <p:spPr>
          <a:xfrm>
            <a:off x="7567902" y="4260304"/>
            <a:ext cx="1507026" cy="289111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90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Azioni automatizzate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138EBDD-41D3-EECB-209E-5504CF97EDFC}"/>
              </a:ext>
            </a:extLst>
          </p:cNvPr>
          <p:cNvSpPr/>
          <p:nvPr/>
        </p:nvSpPr>
        <p:spPr bwMode="auto">
          <a:xfrm>
            <a:off x="2289023" y="6420184"/>
            <a:ext cx="3246578" cy="289111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" sz="1400" dirty="0">
                <a:solidFill>
                  <a:srgbClr val="FFFFFF"/>
                </a:solidFill>
                <a:latin typeface="Ericsson Hilda Light" panose="00000400000000000000" pitchFamily="2" charset="0"/>
              </a:rPr>
              <a:t>&gt;12.000 checklist registrate</a:t>
            </a:r>
            <a:r>
              <a:rPr lang="it" sz="1400">
                <a:solidFill>
                  <a:srgbClr val="FFFFFF"/>
                </a:solidFill>
                <a:latin typeface="Ericsson Hilda Light" panose="00000400000000000000" pitchFamily="2" charset="0"/>
              </a:rPr>
              <a:t>/anno</a:t>
            </a:r>
            <a:endParaRPr lang="it" sz="1400" dirty="0">
              <a:solidFill>
                <a:schemeClr val="accent6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0DFFDD9-BF1D-45FB-F841-ACFABC0F71CD}"/>
              </a:ext>
            </a:extLst>
          </p:cNvPr>
          <p:cNvSpPr/>
          <p:nvPr/>
        </p:nvSpPr>
        <p:spPr bwMode="auto">
          <a:xfrm>
            <a:off x="10937112" y="857156"/>
            <a:ext cx="1129957" cy="202445"/>
          </a:xfrm>
          <a:prstGeom prst="round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PREVENZIONE</a:t>
            </a:r>
          </a:p>
        </p:txBody>
      </p:sp>
      <p:pic>
        <p:nvPicPr>
          <p:cNvPr id="9" name="image">
            <a:extLst>
              <a:ext uri="{FF2B5EF4-FFF2-40B4-BE49-F238E27FC236}">
                <a16:creationId xmlns:a16="http://schemas.microsoft.com/office/drawing/2014/main" id="{578C6071-0BAE-D400-5A78-BC66FB4E0E3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BD4B2C0-6EAA-3E04-7D89-3CD8E855E9FD}"/>
              </a:ext>
            </a:extLst>
          </p:cNvPr>
          <p:cNvSpPr/>
          <p:nvPr/>
        </p:nvSpPr>
        <p:spPr bwMode="auto">
          <a:xfrm>
            <a:off x="5675808" y="6427629"/>
            <a:ext cx="3246578" cy="296027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" sz="1400" dirty="0">
                <a:solidFill>
                  <a:srgbClr val="FFFFFF"/>
                </a:solidFill>
                <a:latin typeface="Ericsson Hilda Light" panose="00000400000000000000" pitchFamily="2" charset="0"/>
              </a:rPr>
              <a:t>&gt;</a:t>
            </a:r>
            <a:r>
              <a:rPr lang="it" sz="1400">
                <a:solidFill>
                  <a:schemeClr val="bg1"/>
                </a:solidFill>
                <a:latin typeface="Ericsson Hilda Light" panose="00000400000000000000" pitchFamily="2" charset="0"/>
              </a:rPr>
              <a:t>125Kg di carta risparmiata/ann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95AD13-34AD-AD8E-C572-C41D98AAD9B8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4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68392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B3C7AE81-39C6-F9EC-2E61-BB570C232B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5518"/>
            <a:ext cx="12191999" cy="6883518"/>
          </a:xfrm>
          <a:prstGeom prst="rect">
            <a:avLst/>
          </a:prstGeom>
        </p:spPr>
      </p:pic>
      <p:sp>
        <p:nvSpPr>
          <p:cNvPr id="13" name="Rectangle BIG">
            <a:extLst>
              <a:ext uri="{FF2B5EF4-FFF2-40B4-BE49-F238E27FC236}">
                <a16:creationId xmlns:a16="http://schemas.microsoft.com/office/drawing/2014/main" id="{98E58B0C-B979-4972-9C37-3586AF67370A}"/>
              </a:ext>
            </a:extLst>
          </p:cNvPr>
          <p:cNvSpPr/>
          <p:nvPr/>
        </p:nvSpPr>
        <p:spPr bwMode="auto">
          <a:xfrm>
            <a:off x="4777529" y="4205360"/>
            <a:ext cx="4943502" cy="1960002"/>
          </a:xfrm>
          <a:prstGeom prst="rect">
            <a:avLst/>
          </a:prstGeom>
          <a:solidFill>
            <a:srgbClr val="BDE0E1"/>
          </a:solidFill>
          <a:ln>
            <a:solidFill>
              <a:srgbClr val="000082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800" b="0" i="0" u="none" strike="noStrike" kern="0" cap="none" spc="0" normalizeH="0" baseline="0" noProof="0">
                <a:ln>
                  <a:noFill/>
                </a:ln>
                <a:solidFill>
                  <a:srgbClr val="1174E6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Ora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8ADCC27-E745-4B1B-BC06-6BA03B63A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65760"/>
            <a:ext cx="8353425" cy="1081088"/>
          </a:xfrm>
        </p:spPr>
        <p:txBody>
          <a:bodyPr/>
          <a:lstStyle/>
          <a:p>
            <a:r>
              <a:rPr lang="it" spc="-40" dirty="0">
                <a:solidFill>
                  <a:schemeClr val="bg1"/>
                </a:solidFill>
              </a:rPr>
              <a:t>GenAI EHS Agent</a:t>
            </a:r>
          </a:p>
        </p:txBody>
      </p:sp>
      <p:sp>
        <p:nvSpPr>
          <p:cNvPr id="52" name="Rectangle BIG">
            <a:extLst>
              <a:ext uri="{FF2B5EF4-FFF2-40B4-BE49-F238E27FC236}">
                <a16:creationId xmlns:a16="http://schemas.microsoft.com/office/drawing/2014/main" id="{060E0C50-5DB7-FC19-8E67-6E5DE4B73866}"/>
              </a:ext>
            </a:extLst>
          </p:cNvPr>
          <p:cNvSpPr/>
          <p:nvPr/>
        </p:nvSpPr>
        <p:spPr bwMode="auto">
          <a:xfrm>
            <a:off x="4777530" y="2005803"/>
            <a:ext cx="4943502" cy="2131431"/>
          </a:xfrm>
          <a:prstGeom prst="rect">
            <a:avLst/>
          </a:prstGeom>
          <a:solidFill>
            <a:srgbClr val="BDE0E1"/>
          </a:solidFill>
          <a:ln>
            <a:solidFill>
              <a:srgbClr val="000082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800" b="0" i="0" u="none" strike="noStrike" kern="0" cap="none" spc="0" normalizeH="0" baseline="0" noProof="0">
                <a:ln>
                  <a:noFill/>
                </a:ln>
                <a:solidFill>
                  <a:srgbClr val="1174E6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Prim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469575-95C6-B0EE-DAA4-2B635CBD2AC2}"/>
              </a:ext>
            </a:extLst>
          </p:cNvPr>
          <p:cNvGrpSpPr/>
          <p:nvPr/>
        </p:nvGrpSpPr>
        <p:grpSpPr>
          <a:xfrm>
            <a:off x="8269629" y="3612413"/>
            <a:ext cx="1263533" cy="1242441"/>
            <a:chOff x="8589435" y="3695649"/>
            <a:chExt cx="1263533" cy="124244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9E2D20F-1959-EB1D-4E4B-22F328567634}"/>
                </a:ext>
              </a:extLst>
            </p:cNvPr>
            <p:cNvSpPr/>
            <p:nvPr/>
          </p:nvSpPr>
          <p:spPr bwMode="auto">
            <a:xfrm>
              <a:off x="8693904" y="3695649"/>
              <a:ext cx="1130401" cy="123310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err="1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20" name="Picture 19" descr="Uno sfondo nero con un quadrato nero&#10;&#10;Descrizione generata automaticamente con confidenza media">
              <a:extLst>
                <a:ext uri="{FF2B5EF4-FFF2-40B4-BE49-F238E27FC236}">
                  <a16:creationId xmlns:a16="http://schemas.microsoft.com/office/drawing/2014/main" id="{620BABAD-511A-B122-95F8-0FFFAF071F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2366" y="3806104"/>
              <a:ext cx="874092" cy="82569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9DB88D-F6F1-5540-88C7-783EAD2E18FD}"/>
                </a:ext>
              </a:extLst>
            </p:cNvPr>
            <p:cNvSpPr txBox="1"/>
            <p:nvPr/>
          </p:nvSpPr>
          <p:spPr>
            <a:xfrm>
              <a:off x="8589435" y="4617205"/>
              <a:ext cx="1263533" cy="320885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" sz="1600" b="0" i="0" u="none" strike="noStrike" kern="1000" cap="none" spc="-3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GIRT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7ABCC01-5B97-28D2-7ED7-DACB0150E52D}"/>
              </a:ext>
            </a:extLst>
          </p:cNvPr>
          <p:cNvSpPr/>
          <p:nvPr/>
        </p:nvSpPr>
        <p:spPr bwMode="auto">
          <a:xfrm>
            <a:off x="7466925" y="2084501"/>
            <a:ext cx="2167789" cy="1084616"/>
          </a:xfrm>
          <a:prstGeom prst="roundRect">
            <a:avLst/>
          </a:prstGeom>
          <a:solidFill>
            <a:srgbClr val="BF496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Il responsabile EHS legge ogni commento della checklist e crea ticket in GIRT per tutti i rischi osservati nelle checklist</a:t>
            </a:r>
          </a:p>
        </p:txBody>
      </p:sp>
      <p:pic>
        <p:nvPicPr>
          <p:cNvPr id="3" name="Checklist" descr="Uno sfondo nero con un quadrato nero&#10;&#10;Descrizione generata automaticamente con confidenza media">
            <a:extLst>
              <a:ext uri="{FF2B5EF4-FFF2-40B4-BE49-F238E27FC236}">
                <a16:creationId xmlns:a16="http://schemas.microsoft.com/office/drawing/2014/main" id="{5831568E-2605-A78C-13FA-E4604A5FEBF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029" y="3708074"/>
            <a:ext cx="889462" cy="889462"/>
          </a:xfrm>
          <a:prstGeom prst="rect">
            <a:avLst/>
          </a:prstGeom>
        </p:spPr>
      </p:pic>
      <p:pic>
        <p:nvPicPr>
          <p:cNvPr id="4" name="PICW" descr="Uno sfondo nero con un quadrato nero&#10;&#10;Descrizione generata automaticamente con confidenza media">
            <a:extLst>
              <a:ext uri="{FF2B5EF4-FFF2-40B4-BE49-F238E27FC236}">
                <a16:creationId xmlns:a16="http://schemas.microsoft.com/office/drawing/2014/main" id="{BD56A937-4AB0-A823-74E7-4163D97CEE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012" y="2238106"/>
            <a:ext cx="889462" cy="889462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CDF9B79-9FED-7612-8BD6-6CF5F962887C}"/>
              </a:ext>
            </a:extLst>
          </p:cNvPr>
          <p:cNvCxnSpPr>
            <a:cxnSpLocks/>
          </p:cNvCxnSpPr>
          <p:nvPr/>
        </p:nvCxnSpPr>
        <p:spPr bwMode="auto">
          <a:xfrm>
            <a:off x="4105793" y="3148262"/>
            <a:ext cx="5918" cy="43350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4" name="EHS 1" descr="Uno sfondo nero con un quadrato nero&#10;&#10;Descrizione generata automaticamente con confidenza media">
            <a:extLst>
              <a:ext uri="{FF2B5EF4-FFF2-40B4-BE49-F238E27FC236}">
                <a16:creationId xmlns:a16="http://schemas.microsoft.com/office/drawing/2014/main" id="{54FFDDD9-D71E-4B25-9495-8E9BBEB6C2F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998" y="2653052"/>
            <a:ext cx="889453" cy="88945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2737198-B860-56C5-B338-1B717CF0BF4B}"/>
              </a:ext>
            </a:extLst>
          </p:cNvPr>
          <p:cNvSpPr txBox="1"/>
          <p:nvPr/>
        </p:nvSpPr>
        <p:spPr>
          <a:xfrm>
            <a:off x="3713147" y="1959354"/>
            <a:ext cx="764763" cy="35450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PIC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F41AB6-4290-AAA3-E139-336C1530B904}"/>
              </a:ext>
            </a:extLst>
          </p:cNvPr>
          <p:cNvSpPr txBox="1"/>
          <p:nvPr/>
        </p:nvSpPr>
        <p:spPr>
          <a:xfrm>
            <a:off x="3484809" y="4587148"/>
            <a:ext cx="1263533" cy="523702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Checklist di controllo per la sicurezz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C6274A-3DDB-4E74-EC0A-DB5ABB5DF714}"/>
              </a:ext>
            </a:extLst>
          </p:cNvPr>
          <p:cNvSpPr txBox="1"/>
          <p:nvPr/>
        </p:nvSpPr>
        <p:spPr>
          <a:xfrm>
            <a:off x="5588290" y="3504660"/>
            <a:ext cx="2058844" cy="334793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Responsabile EHS</a:t>
            </a:r>
          </a:p>
        </p:txBody>
      </p:sp>
      <p:pic>
        <p:nvPicPr>
          <p:cNvPr id="39" name="EHS2" descr="Uno sfondo nero con un quadrato nero&#10;&#10;Descrizione generata automaticamente con confidenza media">
            <a:extLst>
              <a:ext uri="{FF2B5EF4-FFF2-40B4-BE49-F238E27FC236}">
                <a16:creationId xmlns:a16="http://schemas.microsoft.com/office/drawing/2014/main" id="{5C944177-06E9-3629-E879-03723386BD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5511" y="3753813"/>
            <a:ext cx="889453" cy="889453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62F6F37-8BCF-597F-E8F2-A649B92BE9A2}"/>
              </a:ext>
            </a:extLst>
          </p:cNvPr>
          <p:cNvCxnSpPr>
            <a:cxnSpLocks/>
          </p:cNvCxnSpPr>
          <p:nvPr/>
        </p:nvCxnSpPr>
        <p:spPr bwMode="auto">
          <a:xfrm flipH="1">
            <a:off x="9608968" y="4254334"/>
            <a:ext cx="797611" cy="30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976CF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2C17C05-BD01-DC6C-BA7E-41F6A55634DB}"/>
              </a:ext>
            </a:extLst>
          </p:cNvPr>
          <p:cNvSpPr/>
          <p:nvPr/>
        </p:nvSpPr>
        <p:spPr bwMode="auto">
          <a:xfrm>
            <a:off x="10082356" y="2182382"/>
            <a:ext cx="1685832" cy="891902"/>
          </a:xfrm>
          <a:prstGeom prst="roundRect">
            <a:avLst/>
          </a:prstGeom>
          <a:solidFill>
            <a:srgbClr val="767676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Il responsabile EHS indaga e chiude tutti i rischi segnalati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2A7834E-D68C-574E-9FD6-3A9504614A26}"/>
              </a:ext>
            </a:extLst>
          </p:cNvPr>
          <p:cNvCxnSpPr>
            <a:cxnSpLocks/>
          </p:cNvCxnSpPr>
          <p:nvPr/>
        </p:nvCxnSpPr>
        <p:spPr bwMode="auto">
          <a:xfrm flipV="1">
            <a:off x="4337230" y="3234414"/>
            <a:ext cx="1867686" cy="58211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CF186127-7154-C0CA-EC0A-2D60263D48BC}"/>
              </a:ext>
            </a:extLst>
          </p:cNvPr>
          <p:cNvCxnSpPr>
            <a:cxnSpLocks/>
          </p:cNvCxnSpPr>
          <p:nvPr/>
        </p:nvCxnSpPr>
        <p:spPr bwMode="auto">
          <a:xfrm rot="16200000" flipV="1">
            <a:off x="10401140" y="3432678"/>
            <a:ext cx="586581" cy="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976CF4"/>
            </a:solidFill>
            <a:prstDash val="dash"/>
            <a:round/>
            <a:headEnd type="none" w="med" len="med"/>
            <a:tailEnd type="triangle"/>
          </a:ln>
          <a:effectLst/>
        </p:spPr>
      </p:cxnSp>
      <p:grpSp>
        <p:nvGrpSpPr>
          <p:cNvPr id="59" name="Group Dashboard">
            <a:extLst>
              <a:ext uri="{FF2B5EF4-FFF2-40B4-BE49-F238E27FC236}">
                <a16:creationId xmlns:a16="http://schemas.microsoft.com/office/drawing/2014/main" id="{9BCE4039-1D8E-92E6-A686-88FC255A01E7}"/>
              </a:ext>
            </a:extLst>
          </p:cNvPr>
          <p:cNvGrpSpPr/>
          <p:nvPr/>
        </p:nvGrpSpPr>
        <p:grpSpPr>
          <a:xfrm>
            <a:off x="10072029" y="5179142"/>
            <a:ext cx="1622294" cy="1320045"/>
            <a:chOff x="9551448" y="4996725"/>
            <a:chExt cx="1622294" cy="1320045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B15D853-F063-6EF8-AC48-FFBC72957A6D}"/>
                </a:ext>
              </a:extLst>
            </p:cNvPr>
            <p:cNvSpPr/>
            <p:nvPr/>
          </p:nvSpPr>
          <p:spPr bwMode="auto">
            <a:xfrm>
              <a:off x="9551448" y="4996725"/>
              <a:ext cx="1622294" cy="13200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marR="0" lvl="0" indent="-18000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 typeface="Ericsson Hilda" panose="00000500000000000000" pitchFamily="2" charset="0"/>
                <a:buChar char="●"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64405B7E-CC8A-C440-38C1-19060268CF6E}"/>
                </a:ext>
              </a:extLst>
            </p:cNvPr>
            <p:cNvGrpSpPr/>
            <p:nvPr/>
          </p:nvGrpSpPr>
          <p:grpSpPr>
            <a:xfrm>
              <a:off x="9585429" y="5052412"/>
              <a:ext cx="1565016" cy="1264358"/>
              <a:chOff x="9596403" y="5052412"/>
              <a:chExt cx="1565016" cy="1264358"/>
            </a:xfrm>
          </p:grpSpPr>
          <p:pic>
            <p:nvPicPr>
              <p:cNvPr id="62" name="Picture 61" descr="Uno sfondo nero con un quadrato nero&#10;&#10;Descrizione generata automaticamente con confidenza media">
                <a:extLst>
                  <a:ext uri="{FF2B5EF4-FFF2-40B4-BE49-F238E27FC236}">
                    <a16:creationId xmlns:a16="http://schemas.microsoft.com/office/drawing/2014/main" id="{3058F5F8-0A04-718C-2F28-E2AA9CEA5A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99170" y="5052412"/>
                <a:ext cx="952509" cy="952509"/>
              </a:xfrm>
              <a:prstGeom prst="rect">
                <a:avLst/>
              </a:prstGeom>
            </p:spPr>
          </p:pic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A3DF5D38-2697-163E-9254-3E9289A6A7DA}"/>
                  </a:ext>
                </a:extLst>
              </p:cNvPr>
              <p:cNvSpPr txBox="1"/>
              <p:nvPr/>
            </p:nvSpPr>
            <p:spPr>
              <a:xfrm>
                <a:off x="9596403" y="6004921"/>
                <a:ext cx="1565016" cy="311849"/>
              </a:xfrm>
              <a:prstGeom prst="rect">
                <a:avLst/>
              </a:prstGeom>
            </p:spPr>
            <p:txBody>
              <a:bodyPr vert="horz" wrap="square" lIns="72000" tIns="36000" rIns="72000" bIns="36000" rtlCol="0" anchor="t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" sz="1400" b="0" i="0" u="none" strike="noStrike" kern="1000" cap="none" spc="-30" normalizeH="0" baseline="0" noProof="0" err="1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Ericsson Hilda"/>
                    <a:ea typeface="+mn-ea"/>
                    <a:cs typeface="+mn-cs"/>
                  </a:rPr>
                  <a:t>GenAI Dashboard</a:t>
                </a:r>
              </a:p>
            </p:txBody>
          </p:sp>
        </p:grpSp>
      </p:grp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F3D1368-9A7F-ED3B-DD22-83B14E69FE48}"/>
              </a:ext>
            </a:extLst>
          </p:cNvPr>
          <p:cNvCxnSpPr>
            <a:cxnSpLocks/>
          </p:cNvCxnSpPr>
          <p:nvPr/>
        </p:nvCxnSpPr>
        <p:spPr bwMode="auto">
          <a:xfrm flipH="1">
            <a:off x="10657111" y="4673381"/>
            <a:ext cx="1" cy="46715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976CF4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68" name="Group AI">
            <a:extLst>
              <a:ext uri="{FF2B5EF4-FFF2-40B4-BE49-F238E27FC236}">
                <a16:creationId xmlns:a16="http://schemas.microsoft.com/office/drawing/2014/main" id="{4B3B9518-CAF6-3855-EBA4-1168301F01CE}"/>
              </a:ext>
            </a:extLst>
          </p:cNvPr>
          <p:cNvGrpSpPr/>
          <p:nvPr/>
        </p:nvGrpSpPr>
        <p:grpSpPr>
          <a:xfrm>
            <a:off x="6089407" y="4576844"/>
            <a:ext cx="1263533" cy="1463224"/>
            <a:chOff x="5662446" y="3606762"/>
            <a:chExt cx="1263533" cy="1463224"/>
          </a:xfrm>
          <a:solidFill>
            <a:srgbClr val="BDE0E1"/>
          </a:solidFill>
        </p:grpSpPr>
        <p:sp>
          <p:nvSpPr>
            <p:cNvPr id="67" name="Rectangle Grey">
              <a:extLst>
                <a:ext uri="{FF2B5EF4-FFF2-40B4-BE49-F238E27FC236}">
                  <a16:creationId xmlns:a16="http://schemas.microsoft.com/office/drawing/2014/main" id="{C2817751-05FF-2640-5F4F-488F9032445C}"/>
                </a:ext>
              </a:extLst>
            </p:cNvPr>
            <p:cNvSpPr/>
            <p:nvPr/>
          </p:nvSpPr>
          <p:spPr bwMode="auto">
            <a:xfrm>
              <a:off x="5688704" y="3606762"/>
              <a:ext cx="1158166" cy="146322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800"/>
                </a:spcBef>
                <a:buFont typeface="Ericsson Hilda" panose="00000500000000000000" pitchFamily="2" charset="0"/>
                <a:buChar char="●"/>
              </a:pPr>
              <a:endParaRPr lang="en-US" err="1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54" name="Picture AI" descr="Uno sfondo nero con un quadrato nero&#10;&#10;Descrizione generata automaticamente con confidenza media">
              <a:extLst>
                <a:ext uri="{FF2B5EF4-FFF2-40B4-BE49-F238E27FC236}">
                  <a16:creationId xmlns:a16="http://schemas.microsoft.com/office/drawing/2014/main" id="{1BE874E7-48AC-A22E-4B55-7DA9A859A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5638" y="3617066"/>
              <a:ext cx="1099352" cy="1099352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E02333E-6E6D-5C65-F1FF-8C7765FFE457}"/>
                </a:ext>
              </a:extLst>
            </p:cNvPr>
            <p:cNvSpPr txBox="1"/>
            <p:nvPr/>
          </p:nvSpPr>
          <p:spPr>
            <a:xfrm>
              <a:off x="5662446" y="4692581"/>
              <a:ext cx="1263533" cy="35253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" sz="1600" b="0" i="0" u="none" strike="noStrike" kern="1000" cap="none" spc="-3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GenAI Agent</a:t>
              </a:r>
            </a:p>
          </p:txBody>
        </p:sp>
      </p:grp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96DB1D7-9453-452E-BDB5-712F7C9C8C83}"/>
              </a:ext>
            </a:extLst>
          </p:cNvPr>
          <p:cNvSpPr txBox="1">
            <a:spLocks/>
          </p:cNvSpPr>
          <p:nvPr/>
        </p:nvSpPr>
        <p:spPr>
          <a:xfrm>
            <a:off x="1" y="109728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Clr>
                <a:srgbClr val="181818"/>
              </a:buClr>
              <a:buNone/>
              <a:defRPr/>
            </a:pPr>
            <a:r>
              <a:rPr kumimoji="0" lang="it" sz="1400" b="1" i="0" u="none" strike="noStrike" kern="10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         «GenAI EHS Agent» è addestrato per riconoscere i rischi segnalati nelle checklist e vengono automaticamente riportati </a:t>
            </a:r>
            <a:r>
              <a:rPr lang="it" sz="1400" b="1" dirty="0">
                <a:solidFill>
                  <a:srgbClr val="000000"/>
                </a:solidFill>
                <a:latin typeface="Ericsson Hilda Light"/>
              </a:rPr>
              <a:t>nell’applicativo GIRT</a:t>
            </a:r>
            <a:endParaRPr kumimoji="0" lang="it" sz="1400" b="1" i="0" u="none" strike="noStrike" kern="10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icsson Hilda Light"/>
              <a:ea typeface="+mn-ea"/>
              <a:cs typeface="+mn-cs"/>
            </a:endParaRP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5CEDC6C2-3703-4F6D-A15A-A22D18615331}"/>
              </a:ext>
            </a:extLst>
          </p:cNvPr>
          <p:cNvSpPr txBox="1">
            <a:spLocks/>
          </p:cNvSpPr>
          <p:nvPr/>
        </p:nvSpPr>
        <p:spPr>
          <a:xfrm>
            <a:off x="428437" y="4643266"/>
            <a:ext cx="2989511" cy="774487"/>
          </a:xfrm>
          <a:prstGeom prst="rect">
            <a:avLst/>
          </a:prstGeom>
          <a:solidFill>
            <a:srgbClr val="23969A">
              <a:alpha val="43137"/>
            </a:srgbClr>
          </a:solidFill>
          <a:ln w="12700">
            <a:noFill/>
          </a:ln>
        </p:spPr>
        <p:txBody>
          <a:bodyPr lIns="137160" tIns="91440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3️⃣ </a:t>
            </a:r>
            <a:r>
              <a:rPr kumimoji="0" lang="it" sz="1400" b="1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Azione</a:t>
            </a: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Crea un ticket di osservazione dei rischi e propone raccomandazioni attuabili*</a:t>
            </a:r>
          </a:p>
        </p:txBody>
      </p:sp>
      <p:sp>
        <p:nvSpPr>
          <p:cNvPr id="2" name="Content Placeholder 10">
            <a:extLst>
              <a:ext uri="{FF2B5EF4-FFF2-40B4-BE49-F238E27FC236}">
                <a16:creationId xmlns:a16="http://schemas.microsoft.com/office/drawing/2014/main" id="{957332D2-7EF8-5F71-CED9-FD513D23204E}"/>
              </a:ext>
            </a:extLst>
          </p:cNvPr>
          <p:cNvSpPr txBox="1">
            <a:spLocks/>
          </p:cNvSpPr>
          <p:nvPr/>
        </p:nvSpPr>
        <p:spPr>
          <a:xfrm>
            <a:off x="421586" y="4046490"/>
            <a:ext cx="2998929" cy="541089"/>
          </a:xfrm>
          <a:prstGeom prst="rect">
            <a:avLst/>
          </a:prstGeom>
          <a:solidFill>
            <a:srgbClr val="23969A">
              <a:alpha val="43137"/>
            </a:srgbClr>
          </a:solidFill>
          <a:ln w="12700">
            <a:noFill/>
          </a:ln>
        </p:spPr>
        <p:txBody>
          <a:bodyPr lIns="137160" tIns="91440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2️⃣ </a:t>
            </a:r>
            <a:r>
              <a:rPr kumimoji="0" lang="it" sz="1400" b="1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Output</a:t>
            </a: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</a:t>
            </a:r>
            <a:r>
              <a:rPr kumimoji="0" lang="it-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Rileva un rischio nei commenti</a:t>
            </a:r>
            <a:endParaRPr kumimoji="0" lang="it" sz="1400" b="0" i="0" u="none" strike="noStrike" kern="1000" cap="none" spc="-3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" name="Content Placeholder 12">
            <a:extLst>
              <a:ext uri="{FF2B5EF4-FFF2-40B4-BE49-F238E27FC236}">
                <a16:creationId xmlns:a16="http://schemas.microsoft.com/office/drawing/2014/main" id="{DCA41150-4231-4836-8415-192E7F1EDDF8}"/>
              </a:ext>
            </a:extLst>
          </p:cNvPr>
          <p:cNvSpPr txBox="1">
            <a:spLocks/>
          </p:cNvSpPr>
          <p:nvPr/>
        </p:nvSpPr>
        <p:spPr>
          <a:xfrm>
            <a:off x="421586" y="3632208"/>
            <a:ext cx="2999739" cy="374271"/>
          </a:xfrm>
          <a:prstGeom prst="rect">
            <a:avLst/>
          </a:prstGeom>
          <a:solidFill>
            <a:srgbClr val="23969A">
              <a:alpha val="43137"/>
            </a:srgbClr>
          </a:solidFill>
          <a:ln w="12700">
            <a:noFill/>
          </a:ln>
        </p:spPr>
        <p:txBody>
          <a:bodyPr lIns="137160" tIns="91440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1️⃣ </a:t>
            </a:r>
            <a:r>
              <a:rPr kumimoji="0" lang="it" sz="1400" b="1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Input</a:t>
            </a: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</a:t>
            </a:r>
            <a:r>
              <a:rPr kumimoji="0" lang="en-US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1" action="ppaction://hlinksldjump"/>
              </a:rPr>
              <a:t>Checklist </a:t>
            </a:r>
            <a:r>
              <a:rPr kumimoji="0" lang="en-US" sz="1400" b="0" i="0" u="none" strike="noStrike" kern="1000" cap="none" spc="-3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1" action="ppaction://hlinksldjump"/>
              </a:rPr>
              <a:t>Digitale</a:t>
            </a: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FE5CB64-18E0-7908-7C7C-8D56E43275AE}"/>
              </a:ext>
            </a:extLst>
          </p:cNvPr>
          <p:cNvSpPr txBox="1"/>
          <p:nvPr/>
        </p:nvSpPr>
        <p:spPr>
          <a:xfrm>
            <a:off x="4777529" y="1658129"/>
            <a:ext cx="2275499" cy="266272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r>
              <a:rPr kumimoji="0" lang="it" sz="7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PICW – Responsabile del Lavoro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r>
              <a:rPr kumimoji="0" lang="it" sz="7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GIRT – Applicativo  globale di segnalazione degli incidenti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629BD231-B224-8A6A-5C1B-8CBC3A746557}"/>
              </a:ext>
            </a:extLst>
          </p:cNvPr>
          <p:cNvCxnSpPr>
            <a:cxnSpLocks/>
            <a:endCxn id="67" idx="1"/>
          </p:cNvCxnSpPr>
          <p:nvPr/>
        </p:nvCxnSpPr>
        <p:spPr bwMode="auto">
          <a:xfrm>
            <a:off x="4337230" y="4533969"/>
            <a:ext cx="1778435" cy="77448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7C6CB02A-992D-6993-452B-8705F072DC17}"/>
              </a:ext>
            </a:extLst>
          </p:cNvPr>
          <p:cNvCxnSpPr>
            <a:cxnSpLocks/>
          </p:cNvCxnSpPr>
          <p:nvPr/>
        </p:nvCxnSpPr>
        <p:spPr bwMode="auto">
          <a:xfrm>
            <a:off x="7206920" y="3211992"/>
            <a:ext cx="1138515" cy="51087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65427EF8-F7FE-A2D6-278A-D6E4D2382A42}"/>
              </a:ext>
            </a:extLst>
          </p:cNvPr>
          <p:cNvCxnSpPr>
            <a:cxnSpLocks/>
          </p:cNvCxnSpPr>
          <p:nvPr/>
        </p:nvCxnSpPr>
        <p:spPr bwMode="auto">
          <a:xfrm flipV="1">
            <a:off x="7352940" y="4700227"/>
            <a:ext cx="1021156" cy="53460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6BCFE3E0-F442-5F6F-9030-311A81F0EE77}"/>
              </a:ext>
            </a:extLst>
          </p:cNvPr>
          <p:cNvSpPr/>
          <p:nvPr/>
        </p:nvSpPr>
        <p:spPr bwMode="auto">
          <a:xfrm>
            <a:off x="7453801" y="5302398"/>
            <a:ext cx="2134522" cy="818738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Osservazioni di rischio riconosciute dall'intelligenza artificiale e riportate attraverso un'interfaccia automatizz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F6CE2E-D0EE-7450-E38B-8CC7F1A403AF}"/>
              </a:ext>
            </a:extLst>
          </p:cNvPr>
          <p:cNvSpPr txBox="1"/>
          <p:nvPr/>
        </p:nvSpPr>
        <p:spPr>
          <a:xfrm>
            <a:off x="9660815" y="4571226"/>
            <a:ext cx="2058844" cy="334793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400" b="0" i="0" u="none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Responsabile EH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7AB27FF-79FE-9EF4-476F-01FE47C5D2CF}"/>
              </a:ext>
            </a:extLst>
          </p:cNvPr>
          <p:cNvSpPr/>
          <p:nvPr/>
        </p:nvSpPr>
        <p:spPr bwMode="auto">
          <a:xfrm>
            <a:off x="441710" y="5579220"/>
            <a:ext cx="2978805" cy="689135"/>
          </a:xfrm>
          <a:prstGeom prst="round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sz="1400" err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B7FFA-3B3C-F07F-94EC-61175C4F934A}"/>
              </a:ext>
            </a:extLst>
          </p:cNvPr>
          <p:cNvSpPr txBox="1"/>
          <p:nvPr/>
        </p:nvSpPr>
        <p:spPr>
          <a:xfrm>
            <a:off x="389369" y="5621050"/>
            <a:ext cx="2243848" cy="52459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200" b="0" i="0" u="none" strike="noStrike" kern="10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Osservazioni di rischio e segnalazione dei mancati incidenti '24 vs '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00E2E-E68F-7989-3085-5C47AE910964}"/>
              </a:ext>
            </a:extLst>
          </p:cNvPr>
          <p:cNvSpPr txBox="1"/>
          <p:nvPr/>
        </p:nvSpPr>
        <p:spPr>
          <a:xfrm>
            <a:off x="2402079" y="5701368"/>
            <a:ext cx="986757" cy="48746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240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+26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263D14A-3E9E-FC15-2989-F1DB42725DC6}"/>
              </a:ext>
            </a:extLst>
          </p:cNvPr>
          <p:cNvSpPr txBox="1"/>
          <p:nvPr/>
        </p:nvSpPr>
        <p:spPr>
          <a:xfrm>
            <a:off x="399781" y="6581315"/>
            <a:ext cx="8697121" cy="232622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90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*</a:t>
            </a:r>
            <a:r>
              <a:rPr lang="it" sz="900" dirty="0">
                <a:solidFill>
                  <a:schemeClr val="bg1"/>
                </a:solidFill>
              </a:rPr>
              <a:t> Le raccomandazioni vengono esaminate e approvate da esperti di sicurezza per garantire l'accuratezza, l'adeguatezza e per mitigare potenziali responsabilità.</a:t>
            </a:r>
            <a:endParaRPr kumimoji="0" lang="en-US" sz="9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F632908-F5C8-A9BC-2B63-ADE2B443DDAD}"/>
              </a:ext>
            </a:extLst>
          </p:cNvPr>
          <p:cNvSpPr/>
          <p:nvPr/>
        </p:nvSpPr>
        <p:spPr bwMode="auto">
          <a:xfrm>
            <a:off x="327609" y="1921361"/>
            <a:ext cx="3085918" cy="149425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-IT" sz="1200" b="1">
                <a:solidFill>
                  <a:schemeClr val="bg1"/>
                </a:solidFill>
              </a:rPr>
              <a:t>GenAI EHS Agent </a:t>
            </a:r>
            <a:r>
              <a:rPr lang="it-IT" sz="1200">
                <a:solidFill>
                  <a:schemeClr val="bg1"/>
                </a:solidFill>
              </a:rPr>
              <a:t>promuove un approccio proattivo alla sicurezza riducendo i tempi di segnalazione dei rischi e fornendo raccomandazioni attuabili, anticipando così i rischi, prevenendo gli incidenti e salvaguardando la forza lavoro</a:t>
            </a: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1B572E1-3D3A-ED67-51A0-02FA80C16F46}"/>
              </a:ext>
            </a:extLst>
          </p:cNvPr>
          <p:cNvSpPr/>
          <p:nvPr/>
        </p:nvSpPr>
        <p:spPr bwMode="auto">
          <a:xfrm>
            <a:off x="10925272" y="864234"/>
            <a:ext cx="1129957" cy="202445"/>
          </a:xfrm>
          <a:prstGeom prst="round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>
                <a:solidFill>
                  <a:srgbClr val="FFFFFF"/>
                </a:solidFill>
                <a:latin typeface="+mn-lt"/>
              </a:rPr>
              <a:t>PREVENZIONE</a:t>
            </a:r>
          </a:p>
        </p:txBody>
      </p:sp>
      <p:pic>
        <p:nvPicPr>
          <p:cNvPr id="18" name="image">
            <a:extLst>
              <a:ext uri="{FF2B5EF4-FFF2-40B4-BE49-F238E27FC236}">
                <a16:creationId xmlns:a16="http://schemas.microsoft.com/office/drawing/2014/main" id="{007B256B-55F9-63E9-D056-75268990AD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705D2EE-2956-72DF-56A1-F197A07F6BC0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5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4750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8B3F5A69-9979-1669-FF9B-B9A2FA029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683EB4-9985-6CCC-1228-87FADFEC4750}"/>
              </a:ext>
            </a:extLst>
          </p:cNvPr>
          <p:cNvSpPr/>
          <p:nvPr/>
        </p:nvSpPr>
        <p:spPr>
          <a:xfrm>
            <a:off x="267172" y="2428749"/>
            <a:ext cx="11611154" cy="322578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Users">
            <a:extLst>
              <a:ext uri="{FF2B5EF4-FFF2-40B4-BE49-F238E27FC236}">
                <a16:creationId xmlns:a16="http://schemas.microsoft.com/office/drawing/2014/main" id="{7716E156-8E58-31E2-26EC-155CDDD7B1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098254" y="3293186"/>
            <a:ext cx="1311517" cy="125518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726F1D6-7CEB-C777-D417-C098DCF2930D}"/>
              </a:ext>
            </a:extLst>
          </p:cNvPr>
          <p:cNvSpPr txBox="1"/>
          <p:nvPr/>
        </p:nvSpPr>
        <p:spPr bwMode="auto">
          <a:xfrm>
            <a:off x="10239402" y="4554235"/>
            <a:ext cx="1078141" cy="288057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Ericsson Hilda"/>
                <a:ea typeface="+mn-ea"/>
                <a:cs typeface="+mn-cs"/>
              </a:rPr>
              <a:t>Gli uten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761300-B221-546D-4016-621C44C55FBD}"/>
              </a:ext>
            </a:extLst>
          </p:cNvPr>
          <p:cNvSpPr txBox="1"/>
          <p:nvPr/>
        </p:nvSpPr>
        <p:spPr bwMode="auto">
          <a:xfrm>
            <a:off x="593824" y="2893960"/>
            <a:ext cx="2088832" cy="253340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" sz="1600" b="1" kern="0" dirty="0">
                <a:latin typeface="Ericsson Hilda"/>
              </a:rPr>
              <a:t>Knowledge B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" sz="1600" b="1" kern="0" dirty="0">
              <a:latin typeface="Ericsson Hild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" sz="1600" b="1" kern="0" dirty="0">
              <a:latin typeface="Ericsson Hild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" sz="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5E85BAC-78DD-A296-FB08-CA6540753E68}"/>
              </a:ext>
            </a:extLst>
          </p:cNvPr>
          <p:cNvCxnSpPr>
            <a:cxnSpLocks/>
          </p:cNvCxnSpPr>
          <p:nvPr/>
        </p:nvCxnSpPr>
        <p:spPr bwMode="auto">
          <a:xfrm flipH="1">
            <a:off x="9417529" y="4050569"/>
            <a:ext cx="590000" cy="0"/>
          </a:xfrm>
          <a:prstGeom prst="straightConnector1">
            <a:avLst/>
          </a:prstGeom>
          <a:noFill/>
          <a:ln w="38100" cap="flat" cmpd="sng" algn="ctr">
            <a:solidFill>
              <a:srgbClr val="F2F2F2"/>
            </a:solidFill>
            <a:prstDash val="solid"/>
            <a:headEnd type="arrow" w="med" len="med"/>
            <a:tailEnd type="arrow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3F4584F-1EB4-858C-A21E-BD2D47289665}"/>
              </a:ext>
            </a:extLst>
          </p:cNvPr>
          <p:cNvCxnSpPr>
            <a:cxnSpLocks/>
          </p:cNvCxnSpPr>
          <p:nvPr/>
        </p:nvCxnSpPr>
        <p:spPr bwMode="auto">
          <a:xfrm flipH="1">
            <a:off x="2786112" y="4240346"/>
            <a:ext cx="588695" cy="0"/>
          </a:xfrm>
          <a:prstGeom prst="straightConnector1">
            <a:avLst/>
          </a:prstGeom>
          <a:noFill/>
          <a:ln w="38100" cap="flat" cmpd="sng" algn="ctr">
            <a:solidFill>
              <a:srgbClr val="F2F2F2"/>
            </a:solidFill>
            <a:prstDash val="solid"/>
            <a:headEnd type="arrow" w="med" len="med"/>
            <a:tailEnd type="arrow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EA90E7-94A4-98D1-5D61-0620DFF8F350}"/>
              </a:ext>
            </a:extLst>
          </p:cNvPr>
          <p:cNvGrpSpPr/>
          <p:nvPr/>
        </p:nvGrpSpPr>
        <p:grpSpPr>
          <a:xfrm>
            <a:off x="791892" y="3293193"/>
            <a:ext cx="1654993" cy="449929"/>
            <a:chOff x="495237" y="3626772"/>
            <a:chExt cx="1960846" cy="432566"/>
          </a:xfrm>
        </p:grpSpPr>
        <p:pic>
          <p:nvPicPr>
            <p:cNvPr id="3" name="Picture pptx">
              <a:extLst>
                <a:ext uri="{FF2B5EF4-FFF2-40B4-BE49-F238E27FC236}">
                  <a16:creationId xmlns:a16="http://schemas.microsoft.com/office/drawing/2014/main" id="{2E313BCD-54F4-0731-0460-AB7E8FF21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2481" y="3664800"/>
              <a:ext cx="343602" cy="348245"/>
            </a:xfrm>
            <a:prstGeom prst="rect">
              <a:avLst/>
            </a:prstGeom>
          </p:spPr>
        </p:pic>
        <p:pic>
          <p:nvPicPr>
            <p:cNvPr id="5" name="Picture xlsx">
              <a:extLst>
                <a:ext uri="{FF2B5EF4-FFF2-40B4-BE49-F238E27FC236}">
                  <a16:creationId xmlns:a16="http://schemas.microsoft.com/office/drawing/2014/main" id="{EEF80851-9A0F-1516-07F8-C516D75D3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0500" y="3632222"/>
              <a:ext cx="427116" cy="427116"/>
            </a:xfrm>
            <a:prstGeom prst="rect">
              <a:avLst/>
            </a:prstGeom>
          </p:spPr>
        </p:pic>
        <p:pic>
          <p:nvPicPr>
            <p:cNvPr id="12" name="Picture pdf">
              <a:extLst>
                <a:ext uri="{FF2B5EF4-FFF2-40B4-BE49-F238E27FC236}">
                  <a16:creationId xmlns:a16="http://schemas.microsoft.com/office/drawing/2014/main" id="{80ADD2E4-AF06-8779-7A48-0A13764A36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5237" y="3626772"/>
              <a:ext cx="398974" cy="398974"/>
            </a:xfrm>
            <a:prstGeom prst="rect">
              <a:avLst/>
            </a:prstGeom>
          </p:spPr>
        </p:pic>
        <p:pic>
          <p:nvPicPr>
            <p:cNvPr id="14" name="Picture docx">
              <a:extLst>
                <a:ext uri="{FF2B5EF4-FFF2-40B4-BE49-F238E27FC236}">
                  <a16:creationId xmlns:a16="http://schemas.microsoft.com/office/drawing/2014/main" id="{6A1E0519-7CEF-1944-C2AC-AF949EFD9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034" y="3627476"/>
              <a:ext cx="398269" cy="398269"/>
            </a:xfrm>
            <a:prstGeom prst="rect">
              <a:avLst/>
            </a:prstGeom>
          </p:spPr>
        </p:pic>
      </p:grpSp>
      <p:sp>
        <p:nvSpPr>
          <p:cNvPr id="31" name="Title 2">
            <a:extLst>
              <a:ext uri="{FF2B5EF4-FFF2-40B4-BE49-F238E27FC236}">
                <a16:creationId xmlns:a16="http://schemas.microsoft.com/office/drawing/2014/main" id="{1EC08172-2E14-4462-0154-F0E0512ACC66}"/>
              </a:ext>
            </a:extLst>
          </p:cNvPr>
          <p:cNvSpPr txBox="1">
            <a:spLocks/>
          </p:cNvSpPr>
          <p:nvPr/>
        </p:nvSpPr>
        <p:spPr bwMode="auto">
          <a:xfrm>
            <a:off x="475488" y="365760"/>
            <a:ext cx="11111734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40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Assistente AI per la Sicurezza e Salute sul Lavoro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54A03110-0418-8F67-F509-20EEB3906EDF}"/>
              </a:ext>
            </a:extLst>
          </p:cNvPr>
          <p:cNvSpPr txBox="1">
            <a:spLocks/>
          </p:cNvSpPr>
          <p:nvPr/>
        </p:nvSpPr>
        <p:spPr>
          <a:xfrm>
            <a:off x="1" y="109728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1" i="0" u="none" strike="noStrike" kern="10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icsson Hilda Light"/>
                <a:ea typeface="+mn-ea"/>
                <a:cs typeface="+mn-cs"/>
              </a:rPr>
              <a:t> Modello d’intelligenza artificiale addestrato per fornire un accesso rapido all’utente alle informazioni EHS utilizzando un linguaggio natura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59D35F97-270B-D818-BCA6-8CD866F3B703}"/>
              </a:ext>
            </a:extLst>
          </p:cNvPr>
          <p:cNvSpPr txBox="1">
            <a:spLocks/>
          </p:cNvSpPr>
          <p:nvPr/>
        </p:nvSpPr>
        <p:spPr bwMode="auto">
          <a:xfrm>
            <a:off x="2540323" y="5742484"/>
            <a:ext cx="1965548" cy="3474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91440" bIns="0" rtlCol="0">
            <a:noAutofit/>
          </a:bodyPr>
          <a:lstStyle>
            <a:defPPr>
              <a:defRPr lang="en-US"/>
            </a:defPPr>
            <a:lvl1pPr marL="0" lvl="0" indent="0" fontAlgn="base">
              <a:spcBef>
                <a:spcPts val="300"/>
              </a:spcBef>
              <a:spcAft>
                <a:spcPct val="0"/>
              </a:spcAft>
              <a:buNone/>
              <a:defRPr sz="2500">
                <a:solidFill>
                  <a:srgbClr val="FFFFFF"/>
                </a:solidFill>
                <a:latin typeface="+mj-lt"/>
                <a:cs typeface="Ericsson Hilda Light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 panose="00000500000000000000" pitchFamily="2" charset="0"/>
                <a:cs typeface="+mn-cs"/>
              </a:rPr>
              <a:t>Guida in tempo rea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 panose="00000500000000000000" pitchFamily="2" charset="0"/>
            </a:endParaRP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85339124-0BCC-9059-E368-0027B43ACBE1}"/>
              </a:ext>
            </a:extLst>
          </p:cNvPr>
          <p:cNvSpPr txBox="1">
            <a:spLocks/>
          </p:cNvSpPr>
          <p:nvPr/>
        </p:nvSpPr>
        <p:spPr bwMode="auto">
          <a:xfrm>
            <a:off x="6714249" y="5742432"/>
            <a:ext cx="1965546" cy="3474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91440" bIns="0" rtlCol="0">
            <a:noAutofit/>
          </a:bodyPr>
          <a:lstStyle>
            <a:defPPr>
              <a:defRPr lang="en-US"/>
            </a:defPPr>
            <a:lvl1pPr marL="0" lvl="0" indent="0" fontAlgn="base">
              <a:spcBef>
                <a:spcPts val="300"/>
              </a:spcBef>
              <a:spcAft>
                <a:spcPct val="0"/>
              </a:spcAft>
              <a:buNone/>
              <a:defRPr sz="2500">
                <a:solidFill>
                  <a:srgbClr val="FFFFFF"/>
                </a:solidFill>
                <a:latin typeface="+mj-lt"/>
                <a:cs typeface="Ericsson Hilda Light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 panose="00000500000000000000" pitchFamily="2" charset="0"/>
                <a:cs typeface="+mn-cs"/>
              </a:rPr>
              <a:t>Supporto multilingu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 panose="000005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91ADFBB-360E-EA18-29C2-E99D2F9FB894}"/>
              </a:ext>
            </a:extLst>
          </p:cNvPr>
          <p:cNvSpPr txBox="1">
            <a:spLocks/>
          </p:cNvSpPr>
          <p:nvPr/>
        </p:nvSpPr>
        <p:spPr bwMode="auto">
          <a:xfrm>
            <a:off x="461685" y="5742114"/>
            <a:ext cx="1965546" cy="3438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91440" bIns="0" rtlCol="0">
            <a:noAutofit/>
          </a:bodyPr>
          <a:lstStyle>
            <a:defPPr>
              <a:defRPr lang="en-US"/>
            </a:defPPr>
            <a:lvl1pPr marL="0" lvl="0" indent="0" fontAlgn="base">
              <a:spcBef>
                <a:spcPts val="300"/>
              </a:spcBef>
              <a:spcAft>
                <a:spcPct val="0"/>
              </a:spcAft>
              <a:buNone/>
              <a:defRPr sz="2500">
                <a:solidFill>
                  <a:srgbClr val="FFFFFF"/>
                </a:solidFill>
                <a:latin typeface="+mj-lt"/>
                <a:cs typeface="Ericsson Hilda Light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 panose="00000500000000000000" pitchFamily="2" charset="0"/>
                <a:cs typeface="+mn-cs"/>
              </a:rPr>
              <a:t>Fonte verificata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 panose="00000500000000000000" pitchFamily="2" charset="0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DC77C45-41A4-544B-FBD0-5C30484B58EA}"/>
              </a:ext>
            </a:extLst>
          </p:cNvPr>
          <p:cNvSpPr txBox="1">
            <a:spLocks/>
          </p:cNvSpPr>
          <p:nvPr/>
        </p:nvSpPr>
        <p:spPr bwMode="auto">
          <a:xfrm>
            <a:off x="4627287" y="5742114"/>
            <a:ext cx="1965546" cy="3474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91440" bIns="0" rtlCol="0">
            <a:noAutofit/>
          </a:bodyPr>
          <a:lstStyle>
            <a:defPPr>
              <a:defRPr lang="en-US"/>
            </a:defPPr>
            <a:lvl1pPr marL="0" lvl="0" indent="0" fontAlgn="base">
              <a:spcBef>
                <a:spcPts val="300"/>
              </a:spcBef>
              <a:spcAft>
                <a:spcPct val="0"/>
              </a:spcAft>
              <a:buNone/>
              <a:defRPr sz="2500">
                <a:solidFill>
                  <a:srgbClr val="FFFFFF"/>
                </a:solidFill>
                <a:latin typeface="+mj-lt"/>
                <a:cs typeface="Ericsson Hilda Light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 panose="00000500000000000000" pitchFamily="2" charset="0"/>
                <a:cs typeface="+mn-cs"/>
              </a:rPr>
              <a:t>Accesso unificato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icsson Hilda" panose="00000500000000000000" pitchFamily="2" charset="0"/>
            </a:endParaRP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B76FB4C-60F7-B17D-CD57-ED1256F08502}"/>
              </a:ext>
            </a:extLst>
          </p:cNvPr>
          <p:cNvSpPr txBox="1">
            <a:spLocks/>
          </p:cNvSpPr>
          <p:nvPr/>
        </p:nvSpPr>
        <p:spPr bwMode="auto">
          <a:xfrm>
            <a:off x="8792888" y="5740176"/>
            <a:ext cx="3172689" cy="3474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91440" bIns="0" rtlCol="0">
            <a:noAutofit/>
          </a:bodyPr>
          <a:lstStyle>
            <a:defPPr>
              <a:defRPr lang="en-US"/>
            </a:defPPr>
            <a:lvl1pPr marL="0" lvl="0" indent="0" fontAlgn="base">
              <a:spcBef>
                <a:spcPts val="300"/>
              </a:spcBef>
              <a:spcAft>
                <a:spcPct val="0"/>
              </a:spcAft>
              <a:buNone/>
              <a:defRPr sz="2500">
                <a:solidFill>
                  <a:srgbClr val="FFFFFF"/>
                </a:solidFill>
                <a:latin typeface="+mj-lt"/>
                <a:cs typeface="Ericsson Hilda Light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ts val="0"/>
              </a:spcBef>
              <a:defRPr/>
            </a:pPr>
            <a:r>
              <a:rPr lang="it" sz="1200" kern="0" dirty="0">
                <a:latin typeface="Ericsson Hilda" panose="00000500000000000000" pitchFamily="2" charset="0"/>
                <a:cs typeface="+mn-cs"/>
              </a:rPr>
              <a:t>Rafforzamento della cultura della sicurezza</a:t>
            </a:r>
            <a:endParaRPr lang="en-US" sz="1200" kern="0" dirty="0">
              <a:latin typeface="Ericsson Hilda" panose="00000500000000000000" pitchFamily="2" charset="0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784D202-7EE0-26CA-57F5-7E716E87C997}"/>
              </a:ext>
            </a:extLst>
          </p:cNvPr>
          <p:cNvSpPr txBox="1">
            <a:spLocks/>
          </p:cNvSpPr>
          <p:nvPr/>
        </p:nvSpPr>
        <p:spPr>
          <a:xfrm>
            <a:off x="718032" y="1600471"/>
            <a:ext cx="11325785" cy="802675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it" sz="1200" dirty="0">
                <a:solidFill>
                  <a:schemeClr val="bg1"/>
                </a:solidFill>
              </a:rPr>
              <a:t>E’ stato sviluppato un modello d’intelligenza artificiale (LLM) per fornire risposte accurate e rapide in lingua locale, anche se i documenti di sicurezza sono scritti in inglese</a:t>
            </a:r>
          </a:p>
          <a:p>
            <a:pPr>
              <a:spcBef>
                <a:spcPts val="300"/>
              </a:spcBef>
            </a:pPr>
            <a:r>
              <a:rPr lang="it" sz="1200" dirty="0">
                <a:solidFill>
                  <a:schemeClr val="bg1"/>
                </a:solidFill>
              </a:rPr>
              <a:t>I documenti di sicurezza utilizzati dall’assistente AI sono redatti e convalidati da esperti EHS</a:t>
            </a:r>
          </a:p>
          <a:p>
            <a:pPr>
              <a:spcBef>
                <a:spcPts val="300"/>
              </a:spcBef>
            </a:pPr>
            <a:r>
              <a:rPr lang="it" sz="1200" dirty="0">
                <a:solidFill>
                  <a:schemeClr val="bg1"/>
                </a:solidFill>
              </a:rPr>
              <a:t>L’assistente AI risponde solo quando le informazioni sono disponibili. In caso contrario, consiglia agli utenti di contattare il personale EH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1F7FAF-8E98-61ED-18DE-329B977C5A76}"/>
              </a:ext>
            </a:extLst>
          </p:cNvPr>
          <p:cNvSpPr txBox="1"/>
          <p:nvPr/>
        </p:nvSpPr>
        <p:spPr>
          <a:xfrm>
            <a:off x="9416753" y="2833737"/>
            <a:ext cx="2383350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it" sz="1100" dirty="0">
                <a:solidFill>
                  <a:schemeClr val="bg1"/>
                </a:solidFill>
              </a:rPr>
              <a:t>L’Assistente AI spiega lo</a:t>
            </a:r>
          </a:p>
          <a:p>
            <a:r>
              <a:rPr lang="it" sz="1100" dirty="0">
                <a:solidFill>
                  <a:schemeClr val="bg1"/>
                </a:solidFill>
              </a:rPr>
              <a:t> «Stop Work Authority» di Ericsson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3AA3DF9-FE0C-5CE2-224B-4C904F017EA0}"/>
              </a:ext>
            </a:extLst>
          </p:cNvPr>
          <p:cNvSpPr/>
          <p:nvPr/>
        </p:nvSpPr>
        <p:spPr>
          <a:xfrm rot="10800000">
            <a:off x="9321026" y="2878160"/>
            <a:ext cx="64341" cy="370394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65DF4D1-7D19-34B8-E05E-2A5ADFC175F1}"/>
              </a:ext>
            </a:extLst>
          </p:cNvPr>
          <p:cNvSpPr/>
          <p:nvPr/>
        </p:nvSpPr>
        <p:spPr bwMode="auto">
          <a:xfrm>
            <a:off x="11027187" y="867342"/>
            <a:ext cx="1129957" cy="202445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FORMAZION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1B9754C-9468-71BF-AECA-66445A02CACC}"/>
              </a:ext>
            </a:extLst>
          </p:cNvPr>
          <p:cNvSpPr/>
          <p:nvPr/>
        </p:nvSpPr>
        <p:spPr bwMode="auto">
          <a:xfrm>
            <a:off x="9853373" y="869202"/>
            <a:ext cx="1129957" cy="202445"/>
          </a:xfrm>
          <a:prstGeom prst="roundRect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INFORMAZIONI</a:t>
            </a:r>
          </a:p>
        </p:txBody>
      </p:sp>
      <p:pic>
        <p:nvPicPr>
          <p:cNvPr id="16" name="image">
            <a:extLst>
              <a:ext uri="{FF2B5EF4-FFF2-40B4-BE49-F238E27FC236}">
                <a16:creationId xmlns:a16="http://schemas.microsoft.com/office/drawing/2014/main" id="{6F55D223-4A38-3394-D9F2-837EC41E39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979021E-C7F7-8A0F-0DB2-A1774B203593}"/>
              </a:ext>
            </a:extLst>
          </p:cNvPr>
          <p:cNvSpPr txBox="1"/>
          <p:nvPr/>
        </p:nvSpPr>
        <p:spPr>
          <a:xfrm>
            <a:off x="718032" y="3892748"/>
            <a:ext cx="178831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Il database è </a:t>
            </a:r>
            <a:r>
              <a:rPr lang="en-US" sz="1100" dirty="0" err="1">
                <a:solidFill>
                  <a:schemeClr val="bg1"/>
                </a:solidFill>
              </a:rPr>
              <a:t>fondato</a:t>
            </a:r>
            <a:r>
              <a:rPr lang="en-US" sz="1100" dirty="0">
                <a:solidFill>
                  <a:schemeClr val="bg1"/>
                </a:solidFill>
              </a:rPr>
              <a:t> da </a:t>
            </a:r>
            <a:r>
              <a:rPr lang="en-US" sz="1100" dirty="0" err="1">
                <a:solidFill>
                  <a:schemeClr val="bg1"/>
                </a:solidFill>
              </a:rPr>
              <a:t>più</a:t>
            </a:r>
            <a:r>
              <a:rPr lang="en-US" sz="1100" dirty="0">
                <a:solidFill>
                  <a:schemeClr val="bg1"/>
                </a:solidFill>
              </a:rPr>
              <a:t> di 110 </a:t>
            </a:r>
            <a:r>
              <a:rPr lang="en-US" sz="1100" dirty="0" err="1">
                <a:solidFill>
                  <a:schemeClr val="bg1"/>
                </a:solidFill>
              </a:rPr>
              <a:t>documenti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sulla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Sicurezza</a:t>
            </a:r>
            <a:r>
              <a:rPr lang="en-US" sz="1100" dirty="0">
                <a:solidFill>
                  <a:schemeClr val="bg1"/>
                </a:solidFill>
              </a:rPr>
              <a:t> e Salute (procedure, </a:t>
            </a:r>
            <a:r>
              <a:rPr lang="en-US" sz="1100" dirty="0" err="1">
                <a:solidFill>
                  <a:schemeClr val="bg1"/>
                </a:solidFill>
              </a:rPr>
              <a:t>istruzioni</a:t>
            </a:r>
            <a:r>
              <a:rPr lang="en-US" sz="1100" dirty="0">
                <a:solidFill>
                  <a:schemeClr val="bg1"/>
                </a:solidFill>
              </a:rPr>
              <a:t>, </a:t>
            </a:r>
            <a:r>
              <a:rPr lang="en-US" sz="1100" dirty="0" err="1">
                <a:solidFill>
                  <a:schemeClr val="bg1"/>
                </a:solidFill>
              </a:rPr>
              <a:t>modelli</a:t>
            </a:r>
            <a:r>
              <a:rPr lang="en-US" sz="1100" dirty="0">
                <a:solidFill>
                  <a:schemeClr val="bg1"/>
                </a:solidFill>
              </a:rPr>
              <a:t>, </a:t>
            </a:r>
            <a:r>
              <a:rPr lang="en-US" sz="1100" dirty="0" err="1">
                <a:solidFill>
                  <a:schemeClr val="bg1"/>
                </a:solidFill>
              </a:rPr>
              <a:t>descrizioni</a:t>
            </a:r>
            <a:r>
              <a:rPr lang="en-US" sz="1100" dirty="0">
                <a:solidFill>
                  <a:schemeClr val="bg1"/>
                </a:solidFill>
              </a:rPr>
              <a:t> di </a:t>
            </a:r>
            <a:r>
              <a:rPr lang="en-US" sz="1100" dirty="0" err="1">
                <a:solidFill>
                  <a:schemeClr val="bg1"/>
                </a:solidFill>
              </a:rPr>
              <a:t>processo</a:t>
            </a:r>
            <a:r>
              <a:rPr lang="en-US" sz="1100" dirty="0">
                <a:solidFill>
                  <a:schemeClr val="bg1"/>
                </a:solidFill>
              </a:rPr>
              <a:t>, </a:t>
            </a:r>
            <a:r>
              <a:rPr lang="en-US" sz="1100" dirty="0" err="1">
                <a:solidFill>
                  <a:schemeClr val="bg1"/>
                </a:solidFill>
              </a:rPr>
              <a:t>etc</a:t>
            </a:r>
            <a:r>
              <a:rPr lang="en-US" sz="1100" dirty="0">
                <a:solidFill>
                  <a:schemeClr val="bg1"/>
                </a:solidFill>
              </a:rPr>
              <a:t>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FA40704-E153-9A52-4B81-3F6F016F73E0}"/>
              </a:ext>
            </a:extLst>
          </p:cNvPr>
          <p:cNvGrpSpPr/>
          <p:nvPr/>
        </p:nvGrpSpPr>
        <p:grpSpPr>
          <a:xfrm>
            <a:off x="3429967" y="2467603"/>
            <a:ext cx="5862234" cy="3172443"/>
            <a:chOff x="3652524" y="3000960"/>
            <a:chExt cx="5836848" cy="3204544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5A174B1-2472-1537-36C6-ED98E500C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652524" y="3000960"/>
              <a:ext cx="5836848" cy="3204544"/>
            </a:xfrm>
            <a:prstGeom prst="rect">
              <a:avLst/>
            </a:prstGeom>
          </p:spPr>
        </p:pic>
        <p:grpSp>
          <p:nvGrpSpPr>
            <p:cNvPr id="28" name="Group AI">
              <a:extLst>
                <a:ext uri="{FF2B5EF4-FFF2-40B4-BE49-F238E27FC236}">
                  <a16:creationId xmlns:a16="http://schemas.microsoft.com/office/drawing/2014/main" id="{FE2A20C4-26B4-3FD5-FD76-75B62EDDDA6A}"/>
                </a:ext>
              </a:extLst>
            </p:cNvPr>
            <p:cNvGrpSpPr/>
            <p:nvPr/>
          </p:nvGrpSpPr>
          <p:grpSpPr>
            <a:xfrm>
              <a:off x="9136628" y="3138942"/>
              <a:ext cx="256034" cy="256032"/>
              <a:chOff x="6716586" y="2029000"/>
              <a:chExt cx="1305402" cy="1247247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8D60E80-8FF3-56C1-69A1-EC9D5AE6157D}"/>
                  </a:ext>
                </a:extLst>
              </p:cNvPr>
              <p:cNvSpPr/>
              <p:nvPr/>
            </p:nvSpPr>
            <p:spPr>
              <a:xfrm>
                <a:off x="6716586" y="2056399"/>
                <a:ext cx="1305402" cy="1219848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1" name="Graphic AI">
                <a:extLst>
                  <a:ext uri="{FF2B5EF4-FFF2-40B4-BE49-F238E27FC236}">
                    <a16:creationId xmlns:a16="http://schemas.microsoft.com/office/drawing/2014/main" id="{EABE9826-E129-ADC4-9FCB-FF4EF69D3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717618" y="2029000"/>
                <a:ext cx="1280892" cy="1219666"/>
              </a:xfrm>
              <a:prstGeom prst="rect">
                <a:avLst/>
              </a:prstGeom>
            </p:spPr>
          </p:pic>
        </p:grp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F661DCBB-F106-45CF-A250-B8649C194958}"/>
              </a:ext>
            </a:extLst>
          </p:cNvPr>
          <p:cNvSpPr/>
          <p:nvPr/>
        </p:nvSpPr>
        <p:spPr bwMode="auto">
          <a:xfrm>
            <a:off x="1374565" y="6180531"/>
            <a:ext cx="4297064" cy="514319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r>
              <a:rPr lang="it-IT" sz="1200">
                <a:solidFill>
                  <a:schemeClr val="bg1"/>
                </a:solidFill>
                <a:latin typeface="Ericsson Hilda Light" panose="00000400000000000000" pitchFamily="2" charset="0"/>
              </a:rPr>
              <a:t>Oltre il 90% di tasso di successo raggiunto nel progetto pilota, secondo la valutazione della comunità della sicurezza</a:t>
            </a:r>
            <a:endParaRPr lang="it" sz="1200">
              <a:solidFill>
                <a:schemeClr val="bg1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7E8F8E9-8374-DCF4-5C1B-E8EB1B19D726}"/>
              </a:ext>
            </a:extLst>
          </p:cNvPr>
          <p:cNvSpPr/>
          <p:nvPr/>
        </p:nvSpPr>
        <p:spPr bwMode="auto">
          <a:xfrm>
            <a:off x="5741758" y="6180531"/>
            <a:ext cx="5156830" cy="514319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r>
              <a:rPr lang="it-IT" sz="1200" dirty="0">
                <a:solidFill>
                  <a:schemeClr val="bg1"/>
                </a:solidFill>
                <a:latin typeface="Ericsson Hilda Light" panose="00000400000000000000" pitchFamily="2" charset="0"/>
              </a:rPr>
              <a:t>Dopo il successo del progetto in Italia, la soluzione è stata selezionata per il lancio globale in Ericsson</a:t>
            </a:r>
            <a:endParaRPr lang="it" sz="1200" dirty="0">
              <a:solidFill>
                <a:schemeClr val="bg1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CF763C1-99B8-0DD6-571E-8CFABD4E2764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6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2301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69FDD-684E-E168-A326-8C4AD6AF7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127FADDF-CE57-CD28-1DF4-32CF4E9296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id="{584199FF-56F7-F8D2-16B7-7135F7672F5D}"/>
              </a:ext>
            </a:extLst>
          </p:cNvPr>
          <p:cNvSpPr txBox="1">
            <a:spLocks/>
          </p:cNvSpPr>
          <p:nvPr/>
        </p:nvSpPr>
        <p:spPr bwMode="auto">
          <a:xfrm>
            <a:off x="475488" y="365760"/>
            <a:ext cx="95851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" sz="36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Corsi di formazione video sulla Sicurezza e Salute sul Lavoro generati da AI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65B60C54-D4DA-0923-CB6F-FD15AB239DEE}"/>
              </a:ext>
            </a:extLst>
          </p:cNvPr>
          <p:cNvSpPr txBox="1">
            <a:spLocks/>
          </p:cNvSpPr>
          <p:nvPr/>
        </p:nvSpPr>
        <p:spPr>
          <a:xfrm>
            <a:off x="1" y="1280160"/>
            <a:ext cx="12192000" cy="400609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kumimoji="0" lang="it" sz="1400" b="1" i="0" u="none" strike="noStrike" kern="1000" cap="none" spc="-30" normalizeH="0" baseline="0" noProof="0" dirty="0">
                <a:ln>
                  <a:noFill/>
                </a:ln>
                <a:effectLst/>
                <a:uLnTx/>
                <a:uFillTx/>
                <a:latin typeface="Ericsson Hilda Light"/>
                <a:ea typeface="+mn-ea"/>
                <a:cs typeface="+mn-cs"/>
              </a:rPr>
              <a:t> La tecnologia AI trasforma automaticamente le linee guida in formato testo in video di formazione dinamici e fruibili all’istan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0ACE09-F4AA-9C3F-7F47-F83279F0F25A}"/>
              </a:ext>
            </a:extLst>
          </p:cNvPr>
          <p:cNvSpPr/>
          <p:nvPr/>
        </p:nvSpPr>
        <p:spPr>
          <a:xfrm>
            <a:off x="4898481" y="1676799"/>
            <a:ext cx="7314737" cy="518517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694D90DA-D82B-3D69-9315-541DD1E3B4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4509904"/>
              </p:ext>
            </p:extLst>
          </p:nvPr>
        </p:nvGraphicFramePr>
        <p:xfrm>
          <a:off x="308711" y="2368815"/>
          <a:ext cx="4420091" cy="3488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29" name="Picture pptx">
            <a:extLst>
              <a:ext uri="{FF2B5EF4-FFF2-40B4-BE49-F238E27FC236}">
                <a16:creationId xmlns:a16="http://schemas.microsoft.com/office/drawing/2014/main" id="{C7D3B6EF-8446-729F-6D69-46E9013C56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007" y="1764532"/>
            <a:ext cx="471816" cy="478191"/>
          </a:xfrm>
          <a:prstGeom prst="rect">
            <a:avLst/>
          </a:prstGeom>
        </p:spPr>
      </p:pic>
      <p:pic>
        <p:nvPicPr>
          <p:cNvPr id="30" name="Picture pdf">
            <a:extLst>
              <a:ext uri="{FF2B5EF4-FFF2-40B4-BE49-F238E27FC236}">
                <a16:creationId xmlns:a16="http://schemas.microsoft.com/office/drawing/2014/main" id="{D4B6B895-A4A5-10BD-0BB5-7EB8B764809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24363" y="1768521"/>
            <a:ext cx="518426" cy="518426"/>
          </a:xfrm>
          <a:prstGeom prst="rect">
            <a:avLst/>
          </a:prstGeom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C813A2C5-01BE-91E3-D8B5-772E6A92FFAB}"/>
              </a:ext>
            </a:extLst>
          </p:cNvPr>
          <p:cNvSpPr/>
          <p:nvPr/>
        </p:nvSpPr>
        <p:spPr>
          <a:xfrm>
            <a:off x="2485500" y="1806861"/>
            <a:ext cx="158698" cy="4840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Un pulsante di riproduzione rosso e bianco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B50EA010-972F-4123-F0A7-CA2E65EF71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392" y="1785624"/>
            <a:ext cx="518426" cy="51842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5CE0B54-6815-FF48-A78C-91D6AFF54893}"/>
              </a:ext>
            </a:extLst>
          </p:cNvPr>
          <p:cNvSpPr txBox="1"/>
          <p:nvPr/>
        </p:nvSpPr>
        <p:spPr>
          <a:xfrm>
            <a:off x="4898481" y="1715676"/>
            <a:ext cx="25405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100" dirty="0">
                <a:solidFill>
                  <a:schemeClr val="bg1"/>
                </a:solidFill>
                <a:latin typeface="Ericsson Hilda Light" panose="00000400000000000000" pitchFamily="2" charset="0"/>
              </a:rPr>
              <a:t>Esempio di SLIDE generata da AI partendo da un caso reale: 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7BFFA01-18AC-25C0-BDB6-CDEA1BEADBB0}"/>
              </a:ext>
            </a:extLst>
          </p:cNvPr>
          <p:cNvSpPr/>
          <p:nvPr/>
        </p:nvSpPr>
        <p:spPr bwMode="auto">
          <a:xfrm>
            <a:off x="5199090" y="2565119"/>
            <a:ext cx="1129957" cy="202445"/>
          </a:xfrm>
          <a:prstGeom prst="roundRect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it" sz="1100">
                <a:solidFill>
                  <a:srgbClr val="FFFFFF"/>
                </a:solidFill>
                <a:latin typeface="+mn-lt"/>
              </a:rPr>
              <a:t>INFORMAZIONI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AD73582-0463-D002-DCA3-9CF3CC71018F}"/>
              </a:ext>
            </a:extLst>
          </p:cNvPr>
          <p:cNvSpPr/>
          <p:nvPr/>
        </p:nvSpPr>
        <p:spPr bwMode="auto">
          <a:xfrm>
            <a:off x="11019862" y="1051894"/>
            <a:ext cx="1129957" cy="202445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FORMAZIONE</a:t>
            </a:r>
          </a:p>
        </p:txBody>
      </p:sp>
      <p:pic>
        <p:nvPicPr>
          <p:cNvPr id="9" name="image">
            <a:extLst>
              <a:ext uri="{FF2B5EF4-FFF2-40B4-BE49-F238E27FC236}">
                <a16:creationId xmlns:a16="http://schemas.microsoft.com/office/drawing/2014/main" id="{638AF40F-D184-8458-1648-02C5683BC12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736930C-256C-E3CC-93CC-9F375AEB40DF}"/>
              </a:ext>
            </a:extLst>
          </p:cNvPr>
          <p:cNvSpPr/>
          <p:nvPr/>
        </p:nvSpPr>
        <p:spPr bwMode="auto">
          <a:xfrm>
            <a:off x="732039" y="5950104"/>
            <a:ext cx="3506921" cy="706336"/>
          </a:xfrm>
          <a:prstGeom prst="roundRect">
            <a:avLst/>
          </a:prstGeom>
          <a:solidFill>
            <a:srgbClr val="23969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r>
              <a:rPr lang="it-IT" sz="1200" dirty="0">
                <a:solidFill>
                  <a:schemeClr val="bg1"/>
                </a:solidFill>
                <a:latin typeface="Ericsson Hilda Light" panose="00000400000000000000" pitchFamily="2" charset="0"/>
              </a:rPr>
              <a:t>Sono stati già realizzati 30 video e-learning sulla Sicurezza; il numero è crescita per soddisfare le esigenze specifiche degli utenti </a:t>
            </a:r>
            <a:endParaRPr lang="it" sz="1200" dirty="0">
              <a:solidFill>
                <a:schemeClr val="bg1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B07C61-2F6C-4A8A-4CDF-11DE1CA2D8E3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7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50F0D1B-1D6D-5FC3-7793-381487D66F5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18140" y="2807124"/>
            <a:ext cx="6824760" cy="3685116"/>
          </a:xfrm>
          <a:prstGeom prst="rect">
            <a:avLst/>
          </a:prstGeom>
        </p:spPr>
      </p:pic>
      <p:sp>
        <p:nvSpPr>
          <p:cNvPr id="25" name="Callout: Bent Line 24">
            <a:extLst>
              <a:ext uri="{FF2B5EF4-FFF2-40B4-BE49-F238E27FC236}">
                <a16:creationId xmlns:a16="http://schemas.microsoft.com/office/drawing/2014/main" id="{80C9DE93-F465-9288-6FED-F9BE9F65C712}"/>
              </a:ext>
            </a:extLst>
          </p:cNvPr>
          <p:cNvSpPr/>
          <p:nvPr/>
        </p:nvSpPr>
        <p:spPr>
          <a:xfrm>
            <a:off x="8083138" y="1724268"/>
            <a:ext cx="4029019" cy="969496"/>
          </a:xfrm>
          <a:prstGeom prst="borderCallout2">
            <a:avLst>
              <a:gd name="adj1" fmla="val 100804"/>
              <a:gd name="adj2" fmla="val 81820"/>
              <a:gd name="adj3" fmla="val 128398"/>
              <a:gd name="adj4" fmla="val 82967"/>
              <a:gd name="adj5" fmla="val 174948"/>
              <a:gd name="adj6" fmla="val 65330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8" name="TextBox Avatar">
            <a:extLst>
              <a:ext uri="{FF2B5EF4-FFF2-40B4-BE49-F238E27FC236}">
                <a16:creationId xmlns:a16="http://schemas.microsoft.com/office/drawing/2014/main" id="{5C754D1F-0221-695C-AF5D-E7CD42D4061D}"/>
              </a:ext>
            </a:extLst>
          </p:cNvPr>
          <p:cNvSpPr txBox="1"/>
          <p:nvPr/>
        </p:nvSpPr>
        <p:spPr>
          <a:xfrm>
            <a:off x="8667082" y="1724268"/>
            <a:ext cx="347641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950" b="0" i="0" dirty="0">
                <a:solidFill>
                  <a:schemeClr val="bg1"/>
                </a:solidFill>
                <a:effectLst/>
                <a:latin typeface="Ericsson Hilda" panose="00000500000000000000" pitchFamily="2" charset="0"/>
              </a:rPr>
              <a:t>Ericsson riconosce (attraverso un attestato di merito) il buon comportamento dei fornitori, le attività svolte in modo ineccepibile ed i migliori suggerimenti di miglioramento in ambito di Salute, di Sicurezza e di Benessere.</a:t>
            </a:r>
          </a:p>
          <a:p>
            <a:r>
              <a:rPr lang="it" sz="950" b="0" i="0" dirty="0">
                <a:solidFill>
                  <a:schemeClr val="bg1"/>
                </a:solidFill>
                <a:effectLst/>
                <a:latin typeface="Ericsson Hilda" panose="00000500000000000000" pitchFamily="2" charset="0"/>
              </a:rPr>
              <a:t>L’attestato sarà conferito al fornitore solo dopo che Ericsson avrà verificato il comportamento o l'iniziativa meritevole.</a:t>
            </a:r>
            <a:endParaRPr lang="en-US" sz="950" dirty="0">
              <a:solidFill>
                <a:schemeClr val="bg1"/>
              </a:solidFill>
            </a:endParaRPr>
          </a:p>
        </p:txBody>
      </p:sp>
      <p:pic>
        <p:nvPicPr>
          <p:cNvPr id="27" name="Graphic Speak">
            <a:extLst>
              <a:ext uri="{FF2B5EF4-FFF2-40B4-BE49-F238E27FC236}">
                <a16:creationId xmlns:a16="http://schemas.microsoft.com/office/drawing/2014/main" id="{84407B50-5C5B-EC98-AD6F-B25C1A00160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8108590" y="2023120"/>
            <a:ext cx="484074" cy="4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75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28960-3604-B64F-77F1-1E5CC794C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Un primo piano di una superficie blu&#10;&#10;I contenuti generati dall'intelligenza artificiale potrebbero non essere corretti.">
            <a:extLst>
              <a:ext uri="{FF2B5EF4-FFF2-40B4-BE49-F238E27FC236}">
                <a16:creationId xmlns:a16="http://schemas.microsoft.com/office/drawing/2014/main" id="{4F77BD43-87C9-A8E3-B091-2F44F4A5FB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id="{ADC4247A-2E1B-415B-5721-4805E7989824}"/>
              </a:ext>
            </a:extLst>
          </p:cNvPr>
          <p:cNvSpPr txBox="1">
            <a:spLocks/>
          </p:cNvSpPr>
          <p:nvPr/>
        </p:nvSpPr>
        <p:spPr bwMode="auto">
          <a:xfrm>
            <a:off x="475488" y="365760"/>
            <a:ext cx="8738181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0" i="0" u="none" strike="noStrike" kern="1400" cap="none" spc="-1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 Light"/>
                <a:ea typeface="+mj-ea"/>
                <a:cs typeface="+mj-cs"/>
              </a:rPr>
              <a:t>Formazione sulla Sicurezza e Salute sul lavoro basata sul gioco</a:t>
            </a:r>
            <a:endParaRPr kumimoji="0" lang="it" sz="3600" b="0" i="0" u="none" strike="noStrike" kern="1400" cap="none" spc="-16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 Light"/>
              <a:ea typeface="+mj-ea"/>
              <a:cs typeface="+mj-cs"/>
            </a:endParaRP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CF8E3866-94C1-DF2B-42B8-AA5E7D0D370E}"/>
              </a:ext>
            </a:extLst>
          </p:cNvPr>
          <p:cNvSpPr txBox="1">
            <a:spLocks/>
          </p:cNvSpPr>
          <p:nvPr/>
        </p:nvSpPr>
        <p:spPr>
          <a:xfrm>
            <a:off x="0" y="1280160"/>
            <a:ext cx="12192000" cy="560906"/>
          </a:xfrm>
          <a:prstGeom prst="rect">
            <a:avLst/>
          </a:prstGeom>
          <a:solidFill>
            <a:srgbClr val="BDE0E1">
              <a:alpha val="83137"/>
            </a:srgbClr>
          </a:solidFill>
        </p:spPr>
        <p:txBody>
          <a:bodyPr lIns="137160" tIns="91440" rIns="73152" anchor="t"/>
          <a:lstStyle>
            <a:lvl1pPr marL="3429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2788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10795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435100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770063" indent="-34290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Ericsson 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Hilda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181818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-IT" sz="1400" b="1" dirty="0">
                <a:solidFill>
                  <a:srgbClr val="000000"/>
                </a:solidFill>
                <a:latin typeface="Ericsson Hilda Light"/>
              </a:rPr>
              <a:t>Trasformiamo la formazione sulla sicurezza rendendola più coinvolgente e interattiva anche attraverso il gioco, favorendo l’apprendimento attivo nel pieno rispetto della conformità legislativa</a:t>
            </a:r>
            <a:endParaRPr lang="it" sz="1400" b="1" dirty="0">
              <a:solidFill>
                <a:srgbClr val="000000"/>
              </a:solidFill>
              <a:latin typeface="Ericsson Hilda Light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43AF841-6A7F-0B0A-1978-C3F5F148FA37}"/>
              </a:ext>
            </a:extLst>
          </p:cNvPr>
          <p:cNvSpPr txBox="1">
            <a:spLocks/>
          </p:cNvSpPr>
          <p:nvPr/>
        </p:nvSpPr>
        <p:spPr>
          <a:xfrm>
            <a:off x="407391" y="2244396"/>
            <a:ext cx="6788565" cy="4138116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" sz="1800" dirty="0">
                <a:solidFill>
                  <a:schemeClr val="bg1"/>
                </a:solidFill>
              </a:rPr>
              <a:t>Sviluppato «in-house» utilizzando piattaforme di programmazione low code </a:t>
            </a:r>
          </a:p>
          <a:p>
            <a:r>
              <a:rPr lang="it" sz="1800" dirty="0">
                <a:solidFill>
                  <a:schemeClr val="bg1"/>
                </a:solidFill>
              </a:rPr>
              <a:t>Facilmente accessibile tramite </a:t>
            </a:r>
            <a:r>
              <a:rPr lang="en-US" sz="1800" dirty="0">
                <a:solidFill>
                  <a:schemeClr val="bg1"/>
                </a:solidFill>
                <a:hlinkClick r:id="rId4" action="ppaction://hlinksldjump"/>
              </a:rPr>
              <a:t>Portale </a:t>
            </a:r>
            <a:r>
              <a:rPr lang="en-US" sz="1800" dirty="0" err="1">
                <a:solidFill>
                  <a:schemeClr val="bg1"/>
                </a:solidFill>
                <a:hlinkClick r:id="rId4" action="ppaction://hlinksldjump"/>
              </a:rPr>
              <a:t>informativo</a:t>
            </a:r>
            <a:r>
              <a:rPr lang="en-US" sz="1800" dirty="0">
                <a:solidFill>
                  <a:schemeClr val="bg1"/>
                </a:solidFill>
                <a:hlinkClick r:id="rId4" action="ppaction://hlinksldjump"/>
              </a:rPr>
              <a:t> </a:t>
            </a:r>
            <a:r>
              <a:rPr lang="en-US" sz="1800" dirty="0" err="1">
                <a:solidFill>
                  <a:schemeClr val="bg1"/>
                </a:solidFill>
                <a:hlinkClick r:id="rId4" action="ppaction://hlinksldjump"/>
              </a:rPr>
              <a:t>sulla</a:t>
            </a:r>
            <a:r>
              <a:rPr lang="en-US" sz="1800" dirty="0">
                <a:solidFill>
                  <a:schemeClr val="bg1"/>
                </a:solidFill>
                <a:hlinkClick r:id="rId4" action="ppaction://hlinksldjump"/>
              </a:rPr>
              <a:t> </a:t>
            </a:r>
            <a:r>
              <a:rPr lang="en-US" sz="1800" dirty="0" err="1">
                <a:solidFill>
                  <a:schemeClr val="bg1"/>
                </a:solidFill>
                <a:hlinkClick r:id="rId4" action="ppaction://hlinksldjump"/>
              </a:rPr>
              <a:t>Sicurezza</a:t>
            </a:r>
            <a:endParaRPr lang="en-US" sz="1800" dirty="0">
              <a:solidFill>
                <a:schemeClr val="bg1"/>
              </a:solidFill>
            </a:endParaRPr>
          </a:p>
          <a:p>
            <a:r>
              <a:rPr lang="it" sz="1800" dirty="0">
                <a:solidFill>
                  <a:schemeClr val="bg1"/>
                </a:solidFill>
              </a:rPr>
              <a:t>Disponibile su tutti dispositivi mobili</a:t>
            </a:r>
          </a:p>
          <a:p>
            <a:r>
              <a:rPr lang="it" sz="1800" dirty="0">
                <a:solidFill>
                  <a:schemeClr val="bg1"/>
                </a:solidFill>
              </a:rPr>
              <a:t>Contenuti orientati su norme e sulle linee guida interne in materia di sicurezza</a:t>
            </a:r>
          </a:p>
          <a:p>
            <a:r>
              <a:rPr lang="it" sz="1800" dirty="0">
                <a:solidFill>
                  <a:schemeClr val="bg1"/>
                </a:solidFill>
              </a:rPr>
              <a:t>Creazione di contenuti supportata dall’ </a:t>
            </a:r>
            <a:r>
              <a:rPr lang="it-IT" sz="1800" dirty="0">
                <a:solidFill>
                  <a:schemeClr val="accent1"/>
                </a:solidFill>
                <a:hlinkClick r:id="rId5" action="ppaction://hlinksldjump"/>
              </a:rPr>
              <a:t>Assistente AI per la sicurezza</a:t>
            </a:r>
            <a:endParaRPr lang="en-US" sz="1800" dirty="0">
              <a:solidFill>
                <a:schemeClr val="accent1"/>
              </a:solidFill>
              <a:highlight>
                <a:srgbClr val="00FF00"/>
              </a:highlight>
            </a:endParaRPr>
          </a:p>
          <a:p>
            <a:r>
              <a:rPr lang="it" sz="1800" dirty="0">
                <a:solidFill>
                  <a:schemeClr val="bg1"/>
                </a:solidFill>
              </a:rPr>
              <a:t>Le classifiche e i premi incoraggiano la competizione e creano un senso di realizzazione e opportunità di condivisione tra colleghi</a:t>
            </a:r>
          </a:p>
          <a:p>
            <a:r>
              <a:rPr lang="it" sz="1800" dirty="0">
                <a:solidFill>
                  <a:schemeClr val="bg1"/>
                </a:solidFill>
              </a:rPr>
              <a:t>Le risposte corrette alla fine di ogni partita incoraggiano i giocatori ad imparare e riprovare</a:t>
            </a:r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2D43F-1437-962D-77C6-C422370F52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77197" y="1886834"/>
            <a:ext cx="4207412" cy="227174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BA5512A-D7A9-D0A0-B5FF-2C84CE3A4DB0}"/>
              </a:ext>
            </a:extLst>
          </p:cNvPr>
          <p:cNvSpPr/>
          <p:nvPr/>
        </p:nvSpPr>
        <p:spPr bwMode="auto">
          <a:xfrm>
            <a:off x="11037829" y="1058324"/>
            <a:ext cx="1129957" cy="202445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it" sz="1100" dirty="0">
                <a:solidFill>
                  <a:srgbClr val="FFFFFF"/>
                </a:solidFill>
                <a:latin typeface="+mn-lt"/>
              </a:rPr>
              <a:t>FORMAZIONE</a:t>
            </a:r>
          </a:p>
        </p:txBody>
      </p:sp>
      <p:pic>
        <p:nvPicPr>
          <p:cNvPr id="3" name="image">
            <a:extLst>
              <a:ext uri="{FF2B5EF4-FFF2-40B4-BE49-F238E27FC236}">
                <a16:creationId xmlns:a16="http://schemas.microsoft.com/office/drawing/2014/main" id="{E080EE06-7619-0F43-56FA-AD0D2907A3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4841" y="119294"/>
            <a:ext cx="482228" cy="48243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137BC33-7A12-57BC-581C-41B85EE833EE}"/>
              </a:ext>
            </a:extLst>
          </p:cNvPr>
          <p:cNvSpPr txBox="1"/>
          <p:nvPr/>
        </p:nvSpPr>
        <p:spPr>
          <a:xfrm>
            <a:off x="11862069" y="6593219"/>
            <a:ext cx="318326" cy="26477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it" sz="1050" b="0" i="0" u="none" strike="noStrike" kern="10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8</a:t>
            </a:r>
            <a:endParaRPr kumimoji="0" lang="en-US" sz="2000" b="0" i="0" u="none" strike="noStrike" kern="1000" cap="none" spc="-3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7597182-63FB-EC01-74DA-EF6720B3A3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7197" y="4204345"/>
            <a:ext cx="4207412" cy="234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490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App-coverage.svg.s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Laptop.svg.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Physical-health.svg.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557255787432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Hardhat.svg.s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Mobile.svg.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Video_play.svg.s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List 2.s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Artificial-intelligence-2.svg.s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Physical-health.svg.s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557255787432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Automated-operations.svg.s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557219726312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Voice-2.svg.s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557255787432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77786508370457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192086109820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5572197231869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Digital-transformation.svg.s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Automated-operations.svg.s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Circle-graph.svg.s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Globe.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adeli\AppData\Local\Temp\Templafy\PowerPointVsto\Assets\Video_play.svg.svg"/>
</p:tagLst>
</file>

<file path=ppt/theme/theme1.xml><?xml version="1.0" encoding="utf-8"?>
<a:theme xmlns:a="http://schemas.openxmlformats.org/drawingml/2006/main" name="PresentationTemplate2025">
  <a:themeElements>
    <a:clrScheme name="Ericsson New Brand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1174E6"/>
      </a:accent1>
      <a:accent2>
        <a:srgbClr val="23969A"/>
      </a:accent2>
      <a:accent3>
        <a:srgbClr val="976CF4"/>
      </a:accent3>
      <a:accent4>
        <a:srgbClr val="FAD22D"/>
      </a:accent4>
      <a:accent5>
        <a:srgbClr val="E66E19"/>
      </a:accent5>
      <a:accent6>
        <a:srgbClr val="E65D6A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ark blue ">
      <a:srgbClr val="000082"/>
    </a:custClr>
    <a:custClr name="Blue">
      <a:srgbClr val="1174E6"/>
    </a:custClr>
    <a:custClr name="Light blue">
      <a:srgbClr val="D6E2F5"/>
    </a:custClr>
    <a:custClr name="Dark purple">
      <a:srgbClr val="2D2049"/>
    </a:custClr>
    <a:custClr name="Purple">
      <a:srgbClr val="976CF4"/>
    </a:custClr>
    <a:custClr name="Light purple">
      <a:srgbClr val="E0D3F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Dark teal">
      <a:srgbClr val="0B2D2E"/>
    </a:custClr>
    <a:custClr name="Teal">
      <a:srgbClr val="23969A"/>
    </a:custClr>
    <a:custClr name="Light teal">
      <a:srgbClr val="BDE0E1"/>
    </a:custClr>
    <a:custClr name="Dark coral">
      <a:srgbClr val="3C2121"/>
    </a:custClr>
    <a:custClr name="Coral">
      <a:srgbClr val="E65D6A"/>
    </a:custClr>
    <a:custClr name="Light coral">
      <a:srgbClr val="EFD4D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C52A32"/>
    </a:custClr>
    <a:custClr name="Orange">
      <a:srgbClr val="E66E19"/>
    </a:custClr>
    <a:custClr name="Yellow">
      <a:srgbClr val="FAD22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Grey 1">
      <a:srgbClr val="242424"/>
    </a:custClr>
    <a:custClr name="Grey 2">
      <a:srgbClr val="767676"/>
    </a:custClr>
    <a:custClr name="Grey 3">
      <a:srgbClr val="A0A0A0"/>
    </a:custClr>
    <a:custClr name="Grey 4">
      <a:srgbClr val="E0E0E0"/>
    </a:custClr>
    <a:custClr name="Grey 5">
      <a:srgbClr val="F2F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1_Office Theme">
  <a:themeElements>
    <a:clrScheme name="Brand extended palette">
      <a:dk1>
        <a:srgbClr val="FFFFFF"/>
      </a:dk1>
      <a:lt1>
        <a:srgbClr val="2D2049"/>
      </a:lt1>
      <a:dk2>
        <a:srgbClr val="FFFFFF"/>
      </a:dk2>
      <a:lt2>
        <a:srgbClr val="2D2049"/>
      </a:lt2>
      <a:accent1>
        <a:srgbClr val="1174E6"/>
      </a:accent1>
      <a:accent2>
        <a:srgbClr val="23969A"/>
      </a:accent2>
      <a:accent3>
        <a:srgbClr val="976CF4"/>
      </a:accent3>
      <a:accent4>
        <a:srgbClr val="F4D353"/>
      </a:accent4>
      <a:accent5>
        <a:srgbClr val="E66E19"/>
      </a:accent5>
      <a:accent6>
        <a:srgbClr val="FF3232"/>
      </a:accent6>
      <a:hlink>
        <a:srgbClr val="1174E6"/>
      </a:hlink>
      <a:folHlink>
        <a:srgbClr val="000082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2_PresentationTemplate2025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1174E6"/>
      </a:accent1>
      <a:accent2>
        <a:srgbClr val="23969A"/>
      </a:accent2>
      <a:accent3>
        <a:srgbClr val="976CF4"/>
      </a:accent3>
      <a:accent4>
        <a:srgbClr val="FAD22D"/>
      </a:accent4>
      <a:accent5>
        <a:srgbClr val="E66E19"/>
      </a:accent5>
      <a:accent6>
        <a:srgbClr val="E65D6A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ark blue ">
      <a:srgbClr val="000082"/>
    </a:custClr>
    <a:custClr name="Blue">
      <a:srgbClr val="1174E6"/>
    </a:custClr>
    <a:custClr name="Light blue">
      <a:srgbClr val="D6E2F5"/>
    </a:custClr>
    <a:custClr name="Dark purple">
      <a:srgbClr val="2D2049"/>
    </a:custClr>
    <a:custClr name="Purple">
      <a:srgbClr val="976CF4"/>
    </a:custClr>
    <a:custClr name="Light purple">
      <a:srgbClr val="E0D3F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Dark teal">
      <a:srgbClr val="0B2D2E"/>
    </a:custClr>
    <a:custClr name="Teal">
      <a:srgbClr val="23969A"/>
    </a:custClr>
    <a:custClr name="Light teal">
      <a:srgbClr val="BDE0E1"/>
    </a:custClr>
    <a:custClr name="Dark coral">
      <a:srgbClr val="3C2121"/>
    </a:custClr>
    <a:custClr name="Coral">
      <a:srgbClr val="E65D6A"/>
    </a:custClr>
    <a:custClr name="Light coral">
      <a:srgbClr val="EFD4D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C52A32"/>
    </a:custClr>
    <a:custClr name="Orange">
      <a:srgbClr val="E66E19"/>
    </a:custClr>
    <a:custClr name="Yellow">
      <a:srgbClr val="FAD22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Grey 1">
      <a:srgbClr val="242424"/>
    </a:custClr>
    <a:custClr name="Grey 2">
      <a:srgbClr val="767676"/>
    </a:custClr>
    <a:custClr name="Grey 3">
      <a:srgbClr val="A0A0A0"/>
    </a:custClr>
    <a:custClr name="Grey 4">
      <a:srgbClr val="E0E0E0"/>
    </a:custClr>
    <a:custClr name="Grey 5">
      <a:srgbClr val="F2F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4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8998c37-1a85-46c6-9934-04b66e00ae44">
      <Terms xmlns="http://schemas.microsoft.com/office/infopath/2007/PartnerControls"/>
    </lcf76f155ced4ddcb4097134ff3c332f>
    <TaxCatchAll xmlns="fccc26b5-4efb-4ccc-af0f-fa44b7fbe97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DFB179D572C2418C7689A55037E36B" ma:contentTypeVersion="15" ma:contentTypeDescription="Create a new document." ma:contentTypeScope="" ma:versionID="550fd7499b9a7830e6d4ce2449261d66">
  <xsd:schema xmlns:xsd="http://www.w3.org/2001/XMLSchema" xmlns:xs="http://www.w3.org/2001/XMLSchema" xmlns:p="http://schemas.microsoft.com/office/2006/metadata/properties" xmlns:ns2="38998c37-1a85-46c6-9934-04b66e00ae44" xmlns:ns3="fccc26b5-4efb-4ccc-af0f-fa44b7fbe977" targetNamespace="http://schemas.microsoft.com/office/2006/metadata/properties" ma:root="true" ma:fieldsID="2fc42f79196fd11c68cf2f542a7a1b4a" ns2:_="" ns3:_="">
    <xsd:import namespace="38998c37-1a85-46c6-9934-04b66e00ae44"/>
    <xsd:import namespace="fccc26b5-4efb-4ccc-af0f-fa44b7fbe9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998c37-1a85-46c6-9934-04b66e00ae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c3d31b72-c4b9-4223-ac69-1d9539891d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cc26b5-4efb-4ccc-af0f-fa44b7fbe97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73a429e7-f9b3-4052-b893-5e8770338b01}" ma:internalName="TaxCatchAll" ma:showField="CatchAllData" ma:web="fccc26b5-4efb-4ccc-af0f-fa44b7fbe9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C0722C-9708-4F1A-B9B1-9CB66101629D}">
  <ds:schemaRefs>
    <ds:schemaRef ds:uri="http://purl.org/dc/elements/1.1/"/>
    <ds:schemaRef ds:uri="http://schemas.microsoft.com/office/2006/metadata/properties"/>
    <ds:schemaRef ds:uri="fccc26b5-4efb-4ccc-af0f-fa44b7fbe977"/>
    <ds:schemaRef ds:uri="http://schemas.microsoft.com/office/2006/documentManagement/types"/>
    <ds:schemaRef ds:uri="38998c37-1a85-46c6-9934-04b66e00ae44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9AEAF33-41A1-4696-BF83-477E2E49F330}">
  <ds:schemaRefs>
    <ds:schemaRef ds:uri="38998c37-1a85-46c6-9934-04b66e00ae44"/>
    <ds:schemaRef ds:uri="fccc26b5-4efb-4ccc-af0f-fa44b7fbe97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8E61772-3094-4E66-AE27-CDD282FECD5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2e84ceb-fbfd-47ab-be52-080c6b87953f}" enabled="0" method="" siteId="{92e84ceb-fbfd-47ab-be52-080c6b87953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17</TotalTime>
  <Words>1712</Words>
  <Application>Microsoft Office PowerPoint</Application>
  <PresentationFormat>Widescreen</PresentationFormat>
  <Paragraphs>253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ptos</vt:lpstr>
      <vt:lpstr>Aptos Display</vt:lpstr>
      <vt:lpstr>Arial</vt:lpstr>
      <vt:lpstr>Ericsson Hilda</vt:lpstr>
      <vt:lpstr>Ericsson Hilda ExtraBold</vt:lpstr>
      <vt:lpstr>Ericsson Hilda ExtraLight</vt:lpstr>
      <vt:lpstr>Ericsson Hilda Light</vt:lpstr>
      <vt:lpstr>Ericsson Hilda Medium</vt:lpstr>
      <vt:lpstr>Ericsson Technical Icons</vt:lpstr>
      <vt:lpstr>inherit</vt:lpstr>
      <vt:lpstr>Segoe UI</vt:lpstr>
      <vt:lpstr>Wingdings</vt:lpstr>
      <vt:lpstr>PresentationTemplate2025</vt:lpstr>
      <vt:lpstr>1_Office Theme</vt:lpstr>
      <vt:lpstr>2_PresentationTemplate2025</vt:lpstr>
      <vt:lpstr>PresentationTemplate2021</vt:lpstr>
      <vt:lpstr>think-cell Slide</vt:lpstr>
      <vt:lpstr>PowerPoint Presentation</vt:lpstr>
      <vt:lpstr>Ericsson per l’Italia</vt:lpstr>
      <vt:lpstr>Digital EHS</vt:lpstr>
      <vt:lpstr>Portale informativo sulla Sicurezza nei cantieri</vt:lpstr>
      <vt:lpstr>Checklist digitale per la Sicurezza nei cantieri</vt:lpstr>
      <vt:lpstr>GenAI EHS Ag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rics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oje Delibasic</dc:creator>
  <cp:lastModifiedBy>Tiziana Godani</cp:lastModifiedBy>
  <cp:revision>4</cp:revision>
  <dcterms:created xsi:type="dcterms:W3CDTF">2025-04-24T10:12:53Z</dcterms:created>
  <dcterms:modified xsi:type="dcterms:W3CDTF">2025-06-27T12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DFB179D572C2418C7689A55037E36B</vt:lpwstr>
  </property>
  <property fmtid="{D5CDD505-2E9C-101B-9397-08002B2CF9AE}" pid="3" name="MediaServiceImageTags">
    <vt:lpwstr/>
  </property>
</Properties>
</file>